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customXml/itemProps13.xml" ContentType="application/vnd.openxmlformats-officedocument.customXmlPropertie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customXml/itemProps12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customXml/itemProps5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5"/>
  </p:sldMasterIdLst>
  <p:notesMasterIdLst>
    <p:notesMasterId r:id="rId28"/>
  </p:notesMasterIdLst>
  <p:handoutMasterIdLst>
    <p:handoutMasterId r:id="rId29"/>
  </p:handoutMasterIdLst>
  <p:sldIdLst>
    <p:sldId id="261" r:id="rId16"/>
    <p:sldId id="262" r:id="rId17"/>
    <p:sldId id="322" r:id="rId18"/>
    <p:sldId id="308" r:id="rId19"/>
    <p:sldId id="321" r:id="rId20"/>
    <p:sldId id="315" r:id="rId21"/>
    <p:sldId id="311" r:id="rId22"/>
    <p:sldId id="318" r:id="rId23"/>
    <p:sldId id="319" r:id="rId24"/>
    <p:sldId id="309" r:id="rId25"/>
    <p:sldId id="320" r:id="rId26"/>
    <p:sldId id="323" r:id="rId27"/>
  </p:sldIdLst>
  <p:sldSz cx="96012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ADC6D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15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99" autoAdjust="0"/>
    <p:restoredTop sz="96510" autoAdjust="0"/>
  </p:normalViewPr>
  <p:slideViewPr>
    <p:cSldViewPr snapToGrid="0" showGuides="1">
      <p:cViewPr varScale="1">
        <p:scale>
          <a:sx n="70" d="100"/>
          <a:sy n="70" d="100"/>
        </p:scale>
        <p:origin x="-1446" y="-108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28" y="-78"/>
      </p:cViewPr>
      <p:guideLst>
        <p:guide orient="horz" pos="5342"/>
        <p:guide orient="horz" pos="2743"/>
        <p:guide pos="432"/>
        <p:guide pos="390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9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.xml"/><Relationship Id="rId23" Type="http://schemas.openxmlformats.org/officeDocument/2006/relationships/slide" Target="slides/slide8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3551F4-B388-414C-93DE-355D7B348288}" type="slidenum">
              <a:rPr lang="pt-BR" smtClean="0">
                <a:solidFill>
                  <a:schemeClr val="accent3"/>
                </a:solidFill>
              </a:rPr>
              <a:pPr/>
              <a:t>‹nº›</a:t>
            </a:fld>
            <a:endParaRPr lang="pt-BR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28700" y="685800"/>
            <a:ext cx="48006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indent="-228600">
              <a:spcAft>
                <a:spcPts val="600"/>
              </a:spcAft>
              <a:buFont typeface="Arial" charset="0"/>
              <a:buChar char="–"/>
            </a:pPr>
            <a:r>
              <a:rPr lang="pt-BR" dirty="0" smtClean="0"/>
              <a:t>2nd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685800" lvl="2" indent="-228600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3rd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914400" lvl="3" indent="-228600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4th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1143000" lvl="4" indent="-228600"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pt-BR" dirty="0" smtClean="0"/>
              <a:t>5th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1371600" lvl="5" indent="-228600" fontAlgn="base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6th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1600200" lvl="6" indent="-228600" fontAlgn="base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7th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1828800" lvl="7" indent="-228600" fontAlgn="base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8th </a:t>
            </a:r>
            <a:r>
              <a:rPr lang="pt-BR" dirty="0" err="1" smtClean="0"/>
              <a:t>level</a:t>
            </a:r>
            <a:endParaRPr lang="pt-BR" dirty="0" smtClean="0"/>
          </a:p>
          <a:p>
            <a:pPr marL="2057400" lvl="8" indent="-228600" fontAlgn="base">
              <a:spcAft>
                <a:spcPts val="600"/>
              </a:spcAft>
              <a:buFont typeface="Arial" charset="0"/>
              <a:buChar char="-"/>
            </a:pPr>
            <a:r>
              <a:rPr lang="pt-BR" dirty="0" smtClean="0"/>
              <a:t>9th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pt-BR" smtClean="0"/>
              <a:pPr/>
              <a:t>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243242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623698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pt-BR" smtClean="0">
                <a:solidFill>
                  <a:prstClr val="black"/>
                </a:solidFill>
              </a:rPr>
              <a:pPr/>
              <a:t>9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1413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pt-BR" smtClean="0">
                <a:solidFill>
                  <a:prstClr val="black"/>
                </a:solidFill>
              </a:rPr>
              <a:pPr/>
              <a:t>10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1413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MC_CoverShape"/>
          <p:cNvGrpSpPr/>
          <p:nvPr userDrawn="1"/>
        </p:nvGrpSpPr>
        <p:grpSpPr>
          <a:xfrm>
            <a:off x="1588" y="3073400"/>
            <a:ext cx="9601200" cy="3200400"/>
            <a:chOff x="1588" y="7588250"/>
            <a:chExt cx="9601200" cy="3200400"/>
          </a:xfrm>
        </p:grpSpPr>
        <p:sp>
          <p:nvSpPr>
            <p:cNvPr id="9" name="Freeform 1"/>
            <p:cNvSpPr>
              <a:spLocks/>
            </p:cNvSpPr>
            <p:nvPr userDrawn="1"/>
          </p:nvSpPr>
          <p:spPr bwMode="auto">
            <a:xfrm>
              <a:off x="1588" y="7588250"/>
              <a:ext cx="917575" cy="3200400"/>
            </a:xfrm>
            <a:custGeom>
              <a:avLst/>
              <a:gdLst>
                <a:gd name="T0" fmla="*/ 0 w 578"/>
                <a:gd name="T1" fmla="*/ 864 h 2016"/>
                <a:gd name="T2" fmla="*/ 578 w 578"/>
                <a:gd name="T3" fmla="*/ 0 h 2016"/>
                <a:gd name="T4" fmla="*/ 376 w 578"/>
                <a:gd name="T5" fmla="*/ 2016 h 2016"/>
                <a:gd name="T6" fmla="*/ 0 w 578"/>
                <a:gd name="T7" fmla="*/ 2016 h 2016"/>
                <a:gd name="T8" fmla="*/ 0 w 578"/>
                <a:gd name="T9" fmla="*/ 864 h 2016"/>
                <a:gd name="T10" fmla="*/ 0 w 578"/>
                <a:gd name="T11" fmla="*/ 864 h 2016"/>
                <a:gd name="T12" fmla="*/ 0 w 578"/>
                <a:gd name="T13" fmla="*/ 864 h 2016"/>
                <a:gd name="T14" fmla="*/ 0 w 578"/>
                <a:gd name="T15" fmla="*/ 864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8" h="2016">
                  <a:moveTo>
                    <a:pt x="0" y="864"/>
                  </a:moveTo>
                  <a:lnTo>
                    <a:pt x="578" y="0"/>
                  </a:lnTo>
                  <a:lnTo>
                    <a:pt x="376" y="2016"/>
                  </a:lnTo>
                  <a:lnTo>
                    <a:pt x="0" y="2016"/>
                  </a:lnTo>
                  <a:lnTo>
                    <a:pt x="0" y="864"/>
                  </a:lnTo>
                  <a:lnTo>
                    <a:pt x="0" y="864"/>
                  </a:lnTo>
                  <a:lnTo>
                    <a:pt x="0" y="864"/>
                  </a:lnTo>
                  <a:lnTo>
                    <a:pt x="0" y="864"/>
                  </a:lnTo>
                  <a:close/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lvl="0"/>
              <a:endParaRPr dirty="0">
                <a:latin typeface="+mn-lt"/>
                <a:sym typeface="+mn-lt"/>
              </a:endParaRPr>
            </a:p>
          </p:txBody>
        </p:sp>
        <p:sp>
          <p:nvSpPr>
            <p:cNvPr id="10" name="Freeform 2"/>
            <p:cNvSpPr>
              <a:spLocks/>
            </p:cNvSpPr>
            <p:nvPr userDrawn="1"/>
          </p:nvSpPr>
          <p:spPr bwMode="auto">
            <a:xfrm>
              <a:off x="461963" y="7588250"/>
              <a:ext cx="8416925" cy="3200400"/>
            </a:xfrm>
            <a:custGeom>
              <a:avLst/>
              <a:gdLst>
                <a:gd name="T0" fmla="*/ 0 w 5302"/>
                <a:gd name="T1" fmla="*/ 2016 h 2016"/>
                <a:gd name="T2" fmla="*/ 288 w 5302"/>
                <a:gd name="T3" fmla="*/ 0 h 2016"/>
                <a:gd name="T4" fmla="*/ 5302 w 5302"/>
                <a:gd name="T5" fmla="*/ 2016 h 2016"/>
                <a:gd name="T6" fmla="*/ 0 w 5302"/>
                <a:gd name="T7" fmla="*/ 2016 h 2016"/>
                <a:gd name="T8" fmla="*/ 0 w 5302"/>
                <a:gd name="T9" fmla="*/ 2016 h 2016"/>
                <a:gd name="T10" fmla="*/ 0 w 5302"/>
                <a:gd name="T11" fmla="*/ 2016 h 2016"/>
                <a:gd name="T12" fmla="*/ 0 w 5302"/>
                <a:gd name="T13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2" h="2016">
                  <a:moveTo>
                    <a:pt x="0" y="2016"/>
                  </a:moveTo>
                  <a:lnTo>
                    <a:pt x="288" y="0"/>
                  </a:lnTo>
                  <a:lnTo>
                    <a:pt x="5302" y="2016"/>
                  </a:lnTo>
                  <a:lnTo>
                    <a:pt x="0" y="2016"/>
                  </a:lnTo>
                  <a:lnTo>
                    <a:pt x="0" y="2016"/>
                  </a:lnTo>
                  <a:lnTo>
                    <a:pt x="0" y="2016"/>
                  </a:lnTo>
                  <a:lnTo>
                    <a:pt x="0" y="2016"/>
                  </a:lnTo>
                  <a:close/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lvl="0"/>
              <a:endParaRPr/>
            </a:p>
          </p:txBody>
        </p:sp>
        <p:sp>
          <p:nvSpPr>
            <p:cNvPr id="11" name="Freeform 3"/>
            <p:cNvSpPr>
              <a:spLocks/>
            </p:cNvSpPr>
            <p:nvPr userDrawn="1"/>
          </p:nvSpPr>
          <p:spPr bwMode="auto">
            <a:xfrm>
              <a:off x="919163" y="7588250"/>
              <a:ext cx="8683625" cy="3200400"/>
            </a:xfrm>
            <a:custGeom>
              <a:avLst/>
              <a:gdLst>
                <a:gd name="T0" fmla="*/ 4894 w 5470"/>
                <a:gd name="T1" fmla="*/ 2016 h 2016"/>
                <a:gd name="T2" fmla="*/ 0 w 5470"/>
                <a:gd name="T3" fmla="*/ 0 h 2016"/>
                <a:gd name="T4" fmla="*/ 5470 w 5470"/>
                <a:gd name="T5" fmla="*/ 210 h 2016"/>
                <a:gd name="T6" fmla="*/ 5470 w 5470"/>
                <a:gd name="T7" fmla="*/ 2016 h 2016"/>
                <a:gd name="T8" fmla="*/ 4894 w 5470"/>
                <a:gd name="T9" fmla="*/ 2016 h 2016"/>
                <a:gd name="T10" fmla="*/ 4894 w 5470"/>
                <a:gd name="T11" fmla="*/ 2016 h 2016"/>
                <a:gd name="T12" fmla="*/ 4894 w 5470"/>
                <a:gd name="T13" fmla="*/ 2016 h 2016"/>
                <a:gd name="T14" fmla="*/ 4894 w 5470"/>
                <a:gd name="T1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70" h="2016">
                  <a:moveTo>
                    <a:pt x="4894" y="2016"/>
                  </a:moveTo>
                  <a:lnTo>
                    <a:pt x="0" y="0"/>
                  </a:lnTo>
                  <a:lnTo>
                    <a:pt x="5470" y="210"/>
                  </a:lnTo>
                  <a:lnTo>
                    <a:pt x="5470" y="2016"/>
                  </a:lnTo>
                  <a:lnTo>
                    <a:pt x="4894" y="2016"/>
                  </a:lnTo>
                  <a:lnTo>
                    <a:pt x="4894" y="2016"/>
                  </a:lnTo>
                  <a:lnTo>
                    <a:pt x="4894" y="2016"/>
                  </a:lnTo>
                  <a:lnTo>
                    <a:pt x="4894" y="2016"/>
                  </a:lnTo>
                  <a:close/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lvl="0"/>
              <a:endParaRPr/>
            </a:p>
          </p:txBody>
        </p:sp>
        <p:sp>
          <p:nvSpPr>
            <p:cNvPr id="12" name="Freeform 4"/>
            <p:cNvSpPr>
              <a:spLocks/>
            </p:cNvSpPr>
            <p:nvPr userDrawn="1"/>
          </p:nvSpPr>
          <p:spPr bwMode="auto">
            <a:xfrm>
              <a:off x="919163" y="7588250"/>
              <a:ext cx="8683625" cy="457200"/>
            </a:xfrm>
            <a:custGeom>
              <a:avLst/>
              <a:gdLst>
                <a:gd name="T0" fmla="*/ 5470 w 5470"/>
                <a:gd name="T1" fmla="*/ 288 h 288"/>
                <a:gd name="T2" fmla="*/ 0 w 5470"/>
                <a:gd name="T3" fmla="*/ 0 h 288"/>
                <a:gd name="T4" fmla="*/ 5470 w 5470"/>
                <a:gd name="T5" fmla="*/ 0 h 288"/>
                <a:gd name="T6" fmla="*/ 5470 w 5470"/>
                <a:gd name="T7" fmla="*/ 288 h 288"/>
                <a:gd name="T8" fmla="*/ 5470 w 5470"/>
                <a:gd name="T9" fmla="*/ 288 h 288"/>
                <a:gd name="T10" fmla="*/ 5470 w 5470"/>
                <a:gd name="T11" fmla="*/ 288 h 288"/>
                <a:gd name="T12" fmla="*/ 5470 w 5470"/>
                <a:gd name="T13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70" h="288">
                  <a:moveTo>
                    <a:pt x="5470" y="288"/>
                  </a:moveTo>
                  <a:lnTo>
                    <a:pt x="0" y="0"/>
                  </a:lnTo>
                  <a:lnTo>
                    <a:pt x="5470" y="0"/>
                  </a:lnTo>
                  <a:lnTo>
                    <a:pt x="5470" y="288"/>
                  </a:lnTo>
                  <a:lnTo>
                    <a:pt x="5470" y="288"/>
                  </a:lnTo>
                  <a:lnTo>
                    <a:pt x="5470" y="288"/>
                  </a:lnTo>
                  <a:lnTo>
                    <a:pt x="5470" y="288"/>
                  </a:lnTo>
                  <a:close/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lvl="0"/>
              <a:endParaRPr/>
            </a:p>
          </p:txBody>
        </p:sp>
      </p:grpSp>
      <p:pic>
        <p:nvPicPr>
          <p:cNvPr id="5" name="DTP_Endorsement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67600" y="6459538"/>
            <a:ext cx="1635493" cy="228600"/>
          </a:xfrm>
          <a:prstGeom prst="rect">
            <a:avLst/>
          </a:prstGeom>
        </p:spPr>
      </p:pic>
      <p:sp>
        <p:nvSpPr>
          <p:cNvPr id="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905275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0" name="DTP_Attribute"/>
          <p:cNvSpPr txBox="1"/>
          <p:nvPr userDrawn="1"/>
        </p:nvSpPr>
        <p:spPr bwMode="gray">
          <a:xfrm>
            <a:off x="903307" y="6437994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marL="0" lv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sz="1000" b="1" i="0" u="none" cap="all" baseline="0" dirty="0">
              <a:solidFill>
                <a:schemeClr val="accent3"/>
              </a:solidFill>
              <a:latin typeface="+mn-lt"/>
              <a:sym typeface="+mn-lt"/>
            </a:endParaRPr>
          </a:p>
        </p:txBody>
      </p:sp>
      <p:sp>
        <p:nvSpPr>
          <p:cNvPr id="18" name="Presenter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3288" y="4762579"/>
            <a:ext cx="4972050" cy="1107996"/>
          </a:xfrm>
        </p:spPr>
        <p:txBody>
          <a:bodyPr lIns="0" tIns="0" rIns="0" bIns="0" anchor="b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FFFFFF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n-lt"/>
                <a:sym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n-lt"/>
                <a:sym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dirty="0" smtClean="0"/>
              <a:t>Presenter (optional)</a:t>
            </a:r>
            <a:br>
              <a:rPr dirty="0" smtClean="0"/>
            </a:br>
            <a:r>
              <a:rPr dirty="0" smtClean="0"/>
              <a:t>Presenter Title (optional)</a:t>
            </a:r>
            <a:br>
              <a:rPr dirty="0" smtClean="0"/>
            </a:br>
            <a:r>
              <a:rPr dirty="0" smtClean="0"/>
              <a:t/>
            </a:r>
            <a:br>
              <a:rPr dirty="0" smtClean="0"/>
            </a:br>
            <a:r>
              <a:rPr dirty="0" smtClean="0"/>
              <a:t>Location (optional)</a:t>
            </a:r>
          </a:p>
        </p:txBody>
      </p:sp>
      <p:sp>
        <p:nvSpPr>
          <p:cNvPr id="21" name="Dat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03288" y="2395258"/>
            <a:ext cx="4972050" cy="27699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DATE</a:t>
            </a:r>
            <a:endParaRPr lang="pl-PL" dirty="0" smtClean="0"/>
          </a:p>
        </p:txBody>
      </p:sp>
      <p:sp>
        <p:nvSpPr>
          <p:cNvPr id="22" name="Titl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03307" y="1250036"/>
            <a:ext cx="8237537" cy="758413"/>
          </a:xfrm>
          <a:ln>
            <a:noFill/>
          </a:ln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cap="all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TITLE</a:t>
            </a:r>
          </a:p>
          <a:p>
            <a:pPr lvl="1"/>
            <a:r>
              <a:rPr dirty="0" smtClean="0"/>
              <a:t>SUBTITLE</a:t>
            </a:r>
            <a:endParaRPr lang="pl-PL" dirty="0" smtClean="0"/>
          </a:p>
        </p:txBody>
      </p:sp>
      <p:sp>
        <p:nvSpPr>
          <p:cNvPr id="23" name="Client Logo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624637" y="477838"/>
            <a:ext cx="2516188" cy="685800"/>
          </a:xfrm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 baseline="0">
                <a:solidFill>
                  <a:schemeClr val="accent4"/>
                </a:solidFill>
              </a:defRPr>
            </a:lvl1pPr>
          </a:lstStyle>
          <a:p>
            <a:r>
              <a:rPr dirty="0" smtClean="0"/>
              <a:t>CLIENT LOGO PLACEHOLDER</a:t>
            </a:r>
          </a:p>
          <a:p>
            <a:r>
              <a:rPr dirty="0" smtClean="0"/>
              <a:t>Delete box if no client logo is used</a:t>
            </a:r>
            <a:endParaRPr dirty="0"/>
          </a:p>
        </p:txBody>
      </p:sp>
      <p:pic>
        <p:nvPicPr>
          <p:cNvPr id="4" name="DTP_Company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5963" y="477838"/>
            <a:ext cx="2720346" cy="22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9915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19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752621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19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19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221084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19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19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19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19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3321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19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19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500485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1777501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946055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462899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376804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2386541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/>
            </a:lvl9pPr>
          </a:lstStyle>
          <a:p>
            <a:pPr lvl="0"/>
            <a:r>
              <a:rPr dirty="0" smtClean="0"/>
              <a:t>Heading 10 pt</a:t>
            </a:r>
          </a:p>
          <a:p>
            <a:pPr lvl="1"/>
            <a:r>
              <a:rPr dirty="0" smtClean="0"/>
              <a:t>Subheading 10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2852823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4043412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19" y="384048"/>
            <a:ext cx="8686800" cy="7589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2500207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19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19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19" y="384048"/>
            <a:ext cx="8686800" cy="7589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1367089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19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sz="1400" dirty="0" smtClean="0"/>
            </a:lvl1pPr>
            <a:lvl2pPr>
              <a:defRPr sz="1400" dirty="0" smtClean="0"/>
            </a:lvl2pPr>
            <a:lvl3pPr>
              <a:defRPr sz="1400" dirty="0" smtClean="0"/>
            </a:lvl3pPr>
            <a:lvl4pPr>
              <a:defRPr sz="1400" dirty="0" smtClean="0"/>
            </a:lvl4pPr>
            <a:lvl5pPr>
              <a:defRPr sz="1400" dirty="0" smtClean="0"/>
            </a:lvl5pPr>
            <a:lvl6pPr>
              <a:defRPr sz="1400" dirty="0" smtClean="0"/>
            </a:lvl6pPr>
            <a:lvl7pPr>
              <a:defRPr sz="1400" dirty="0" smtClean="0"/>
            </a:lvl7pPr>
            <a:lvl8pPr>
              <a:defRPr sz="1400" dirty="0" smtClean="0"/>
            </a:lvl8pPr>
            <a:lvl9pPr>
              <a:defRPr sz="14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19" y="384048"/>
            <a:ext cx="7818120" cy="7589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32390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19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onteúd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3402817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TP_Confidentiality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xmlns="" val="2729744281"/>
              </p:ext>
            </p:extLst>
          </p:nvPr>
        </p:nvGraphicFramePr>
        <p:xfrm>
          <a:off x="457219" y="2767584"/>
          <a:ext cx="8686800" cy="1322832"/>
        </p:xfrm>
        <a:graphic>
          <a:graphicData uri="http://schemas.openxmlformats.org/drawingml/2006/table">
            <a:tbl>
              <a:tblPr/>
              <a:tblGrid>
                <a:gridCol w="2774759"/>
                <a:gridCol w="5912041"/>
              </a:tblGrid>
              <a:tr h="10795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kern="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ea typeface="+mj-ea"/>
                          <a:cs typeface="+mn-cs"/>
                          <a:sym typeface="+mn-lt"/>
                        </a:rPr>
                        <a:t>CONFIDENCIALIDADE</a:t>
                      </a:r>
                    </a:p>
                  </a:txBody>
                  <a:tcPr marL="0" marR="228600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kern="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  <a:sym typeface="+mn-lt"/>
                        </a:rPr>
                        <a:t>Os negócios dos nossos clientes são extremamente competitivos, e a preservação da confidencialidade com relação aos planos e informações dos nossos clientes é fundamental. A Oliver Wyman aplica rigorosamente políticas internas de confidencialidade visando proteger o sigilo das informações dos clientes.
Da mesma forma, entendemos que o nosso negócio também é bastante competitivo. Consideramos nossas abordagens e conhecimentos como direitos de propriedade intelectual e, portanto, esperamos que nossos clientes protejam nossos interesses em nossas propostas, apresentações, metodologias e técnicas analíticas. Sob em nenhuma hipótese este material poderá ser compartilhado com qualquer terceiro sem o prévio e expresso consentimento da Oliver Wyman.
© Oliver Wyman</a:t>
                      </a:r>
                      <a:endParaRPr kumimoji="0" sz="800" b="0" i="0" u="none" strike="noStrike" kern="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+mn-cs"/>
                        <a:sym typeface="+mn-lt"/>
                      </a:endParaRPr>
                    </a:p>
                  </a:txBody>
                  <a:tcPr marL="36576" marR="36576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2497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extConfOW-S-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xmlns="" val="1114832454"/>
              </p:ext>
            </p:extLst>
          </p:nvPr>
        </p:nvGraphicFramePr>
        <p:xfrm>
          <a:off x="457219" y="2325624"/>
          <a:ext cx="8686800" cy="2206752"/>
        </p:xfrm>
        <a:graphic>
          <a:graphicData uri="http://schemas.openxmlformats.org/drawingml/2006/table">
            <a:tbl>
              <a:tblPr/>
              <a:tblGrid>
                <a:gridCol w="2774759"/>
                <a:gridCol w="5912041"/>
              </a:tblGrid>
              <a:tr h="18415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kern="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ea typeface="+mj-ea"/>
                          <a:cs typeface="+mn-cs"/>
                          <a:sym typeface="+mn-lt"/>
                        </a:rPr>
                        <a:t>QUALIFICAÇÕES, PREMISSAS E CONDIÇÕES RESTRITIVAS</a:t>
                      </a:r>
                      <a:endParaRPr kumimoji="0" lang="en-US" sz="1400" b="0" i="0" u="none" strike="noStrike" kern="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  <a:ea typeface="+mj-ea"/>
                        <a:cs typeface="+mn-cs"/>
                        <a:sym typeface="+mn-lt"/>
                      </a:endParaRPr>
                    </a:p>
                  </a:txBody>
                  <a:tcPr marL="0" marR="228600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kern="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  <a:sym typeface="+mn-lt"/>
                        </a:rPr>
                        <a:t>Este relatório é de uso exclusivo dos clientes da Oliver Wyman aqui identificados. Este relatório não é destinado à divulgação pública ou publicação, nem deverá ser reproduzido, citado ou distribuído para qualquer finalidade, sem a prévia e expressa autorização da Oliver Wyman. Não há terceiros beneficiários deste relatório, e Oliver Wyman não se responsabiliza perante quaisquer terceiros.
As informações fornecidas por terceiros, sobre as quais o inteiro teor deste relatório ou parte dele estão baseados, são consideradas confiáveis, porém não foram verificadas de forma independente, salvo indicação expressa em contrário. Informações públicas e dados da indústria e estatísticos são de fontes que julgamos serem idôneas, no entanto, não prestamos qualquer declaração quanto à exatidão ou completude dessas informações. Os resultados contidos neste relatório podem conter previsões baseadas em dados atuais e tendências históricas. Todas essas previsões estão sujeitas a riscos e incertezas inerentes. Oliver Wyman não se responsabiliza pelos resultados efetivos ou eventos futuros.
As opiniões contidas neste relatório são válidas apenas para os fins aqui indicados e na data deste relatório. Nenhuma obrigação é assumida no sentido de revisar este relatório a fim de refletir as mudanças, eventos ou condições que vierem a ocorrer após a presente data.
Todas as decisões relacionadas com a implementação ou utilização dos pareceres ou recomendações contidas neste relatório são de responsabilidade exclusiva do cliente. Este relatório não representa consultoria de investimento nem contém parecer sobre o equilíbrio de qualquer transação com relação a quaisquer e todas as partes.</a:t>
                      </a:r>
                      <a:endParaRPr kumimoji="0" sz="800" b="0" i="0" u="none" strike="noStrike" kern="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+mn-cs"/>
                        <a:sym typeface="+mn-lt"/>
                      </a:endParaRPr>
                    </a:p>
                  </a:txBody>
                  <a:tcPr marL="36576" marR="36576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76591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TP_Company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1134" y="3258693"/>
            <a:ext cx="4080519" cy="3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9284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890591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19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sz="1400" dirty="0" smtClean="0"/>
            </a:lvl1pPr>
            <a:lvl2pPr>
              <a:defRPr sz="1400" dirty="0" smtClean="0"/>
            </a:lvl2pPr>
            <a:lvl3pPr>
              <a:defRPr sz="1400" dirty="0" smtClean="0"/>
            </a:lvl3pPr>
            <a:lvl4pPr>
              <a:defRPr sz="1400" dirty="0" smtClean="0"/>
            </a:lvl4pPr>
            <a:lvl5pPr>
              <a:defRPr sz="1400" dirty="0" smtClean="0"/>
            </a:lvl5pPr>
            <a:lvl6pPr>
              <a:defRPr sz="1400" dirty="0" smtClean="0"/>
            </a:lvl6pPr>
            <a:lvl7pPr>
              <a:defRPr sz="1400" dirty="0" smtClean="0"/>
            </a:lvl7pPr>
            <a:lvl8pPr>
              <a:defRPr sz="1400" dirty="0" smtClean="0"/>
            </a:lvl8pPr>
            <a:lvl9pPr>
              <a:defRPr sz="14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97950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19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11719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19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sz="1400" dirty="0" smtClean="0"/>
            </a:lvl1pPr>
            <a:lvl2pPr>
              <a:defRPr sz="1400" dirty="0" smtClean="0"/>
            </a:lvl2pPr>
            <a:lvl3pPr>
              <a:defRPr sz="1400" dirty="0" smtClean="0"/>
            </a:lvl3pPr>
            <a:lvl4pPr>
              <a:defRPr sz="1400" dirty="0" smtClean="0"/>
            </a:lvl4pPr>
            <a:lvl5pPr>
              <a:defRPr sz="1400" dirty="0" smtClean="0"/>
            </a:lvl5pPr>
            <a:lvl6pPr>
              <a:defRPr sz="1400" dirty="0" smtClean="0"/>
            </a:lvl6pPr>
            <a:lvl7pPr>
              <a:defRPr sz="1400" dirty="0" smtClean="0"/>
            </a:lvl7pPr>
            <a:lvl8pPr>
              <a:defRPr sz="1400" dirty="0" smtClean="0"/>
            </a:lvl8pPr>
            <a:lvl9pPr>
              <a:defRPr sz="14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19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9pPr>
          </a:lstStyle>
          <a:p>
            <a:pPr lvl="0"/>
            <a:r>
              <a:rPr dirty="0" smtClean="0"/>
              <a:t>Heading 14 pt</a:t>
            </a:r>
          </a:p>
          <a:p>
            <a:pPr lvl="1"/>
            <a:r>
              <a:rPr dirty="0" smtClean="0"/>
              <a:t>Subheading 14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984370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19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19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19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19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3255572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65" y="2934396"/>
            <a:ext cx="6106679" cy="1007181"/>
          </a:xfr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Click to add section title</a:t>
            </a:r>
          </a:p>
          <a:p>
            <a:pPr lvl="1"/>
            <a:r>
              <a:rPr noProof="0" dirty="0" smtClean="0"/>
              <a:t>Click to add section subtitle</a:t>
            </a:r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19" y="2934396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xmlns="" val="3771111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19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2209116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57219" y="6583680"/>
            <a:ext cx="65562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xmlns="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19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19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mtClean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/>
            </a:lvl9pPr>
          </a:lstStyle>
          <a:p>
            <a:pPr lvl="0"/>
            <a:r>
              <a:rPr dirty="0" smtClean="0"/>
              <a:t>Heading 12 pt</a:t>
            </a:r>
          </a:p>
          <a:p>
            <a:pPr lvl="1"/>
            <a:r>
              <a:rPr dirty="0" smtClean="0"/>
              <a:t>Subheading 12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xmlns="" val="4123678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579493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088" name="think-cell Slide" r:id="rId31" imgW="360" imgH="360" progId="">
              <p:embed/>
            </p:oleObj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  <a:extLst/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pt-BR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nº›</a:t>
            </a:fld>
            <a:endParaRPr lang="pt-BR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19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19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51" r:id="rId2"/>
    <p:sldLayoutId id="2147483668" r:id="rId3"/>
    <p:sldLayoutId id="2147483667" r:id="rId4"/>
    <p:sldLayoutId id="2147483666" r:id="rId5"/>
    <p:sldLayoutId id="2147483665" r:id="rId6"/>
    <p:sldLayoutId id="2147483673" r:id="rId7"/>
    <p:sldLayoutId id="2147483663" r:id="rId8"/>
    <p:sldLayoutId id="2147483662" r:id="rId9"/>
    <p:sldLayoutId id="2147483664" r:id="rId10"/>
    <p:sldLayoutId id="2147483683" r:id="rId11"/>
    <p:sldLayoutId id="2147483659" r:id="rId12"/>
    <p:sldLayoutId id="2147483658" r:id="rId13"/>
    <p:sldLayoutId id="2147483661" r:id="rId14"/>
    <p:sldLayoutId id="2147483656" r:id="rId15"/>
    <p:sldLayoutId id="2147483660" r:id="rId16"/>
    <p:sldLayoutId id="2147483682" r:id="rId17"/>
    <p:sldLayoutId id="2147483653" r:id="rId18"/>
    <p:sldLayoutId id="2147483654" r:id="rId19"/>
    <p:sldLayoutId id="2147483669" r:id="rId20"/>
    <p:sldLayoutId id="2147483670" r:id="rId21"/>
    <p:sldLayoutId id="2147483675" r:id="rId22"/>
    <p:sldLayoutId id="2147483672" r:id="rId23"/>
    <p:sldLayoutId id="2147483679" r:id="rId24"/>
    <p:sldLayoutId id="2147483680" r:id="rId25"/>
    <p:sldLayoutId id="2147483681" r:id="rId26"/>
    <p:sldLayoutId id="2147483671" r:id="rId2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6.xml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8.wmf"/><Relationship Id="rId3" Type="http://schemas.openxmlformats.org/officeDocument/2006/relationships/customXml" Target="../../customXml/item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7.wmf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12.xml"/><Relationship Id="rId6" Type="http://schemas.openxmlformats.org/officeDocument/2006/relationships/customXml" Target="../../customXml/item10.xml"/><Relationship Id="rId11" Type="http://schemas.openxmlformats.org/officeDocument/2006/relationships/image" Target="../media/image16.wmf"/><Relationship Id="rId5" Type="http://schemas.openxmlformats.org/officeDocument/2006/relationships/customXml" Target="../../customXml/item13.xml"/><Relationship Id="rId10" Type="http://schemas.openxmlformats.org/officeDocument/2006/relationships/image" Target="../media/image15.wmf"/><Relationship Id="rId4" Type="http://schemas.openxmlformats.org/officeDocument/2006/relationships/customXml" Target="../../customXml/item9.xml"/><Relationship Id="rId9" Type="http://schemas.openxmlformats.org/officeDocument/2006/relationships/image" Target="../media/image14.wmf"/><Relationship Id="rId14" Type="http://schemas.openxmlformats.org/officeDocument/2006/relationships/image" Target="../media/image19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oleObject" Target="../embeddings/oleObject5.bin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oleObject" Target="../embeddings/oleObject4.bin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4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1" Type="http://schemas.openxmlformats.org/officeDocument/2006/relationships/vmlDrawing" Target="../drawings/vmlDrawing5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tags" Target="../tags/tag87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oleObject" Target="../embeddings/oleObject9.bin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tags" Target="../tags/tag86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oleObject" Target="../embeddings/oleObject11.bin"/><Relationship Id="rId3" Type="http://schemas.openxmlformats.org/officeDocument/2006/relationships/tags" Target="../tags/tag90.xml"/><Relationship Id="rId21" Type="http://schemas.openxmlformats.org/officeDocument/2006/relationships/tags" Target="../tags/tag108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oleObject" Target="../embeddings/oleObject10.bin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1" Type="http://schemas.openxmlformats.org/officeDocument/2006/relationships/vmlDrawing" Target="../drawings/vmlDrawing6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9" Type="http://schemas.openxmlformats.org/officeDocument/2006/relationships/tags" Target="../tags/tag148.xml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34" Type="http://schemas.openxmlformats.org/officeDocument/2006/relationships/tags" Target="../tags/tag143.xml"/><Relationship Id="rId42" Type="http://schemas.openxmlformats.org/officeDocument/2006/relationships/tags" Target="../tags/tag151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33" Type="http://schemas.openxmlformats.org/officeDocument/2006/relationships/tags" Target="../tags/tag142.xml"/><Relationship Id="rId38" Type="http://schemas.openxmlformats.org/officeDocument/2006/relationships/tags" Target="../tags/tag147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tags" Target="../tags/tag138.xml"/><Relationship Id="rId41" Type="http://schemas.openxmlformats.org/officeDocument/2006/relationships/tags" Target="../tags/tag150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32" Type="http://schemas.openxmlformats.org/officeDocument/2006/relationships/tags" Target="../tags/tag141.xml"/><Relationship Id="rId37" Type="http://schemas.openxmlformats.org/officeDocument/2006/relationships/tags" Target="../tags/tag146.xml"/><Relationship Id="rId40" Type="http://schemas.openxmlformats.org/officeDocument/2006/relationships/tags" Target="../tags/tag149.xml"/><Relationship Id="rId45" Type="http://schemas.openxmlformats.org/officeDocument/2006/relationships/oleObject" Target="../embeddings/oleObject13.bin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tags" Target="../tags/tag137.xml"/><Relationship Id="rId36" Type="http://schemas.openxmlformats.org/officeDocument/2006/relationships/tags" Target="../tags/tag145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tags" Target="../tags/tag140.xml"/><Relationship Id="rId44" Type="http://schemas.openxmlformats.org/officeDocument/2006/relationships/oleObject" Target="../embeddings/oleObject12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30" Type="http://schemas.openxmlformats.org/officeDocument/2006/relationships/tags" Target="../tags/tag139.xml"/><Relationship Id="rId35" Type="http://schemas.openxmlformats.org/officeDocument/2006/relationships/tags" Target="../tags/tag144.xml"/><Relationship Id="rId43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903288" y="5593614"/>
            <a:ext cx="4972050" cy="276999"/>
          </a:xfrm>
        </p:spPr>
        <p:txBody>
          <a:bodyPr/>
          <a:lstStyle/>
          <a:p>
            <a:r>
              <a:rPr lang="pt-BR" dirty="0" smtClean="0"/>
              <a:t>Ana Carla Abrão Costa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12 de julho de 2017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03307" y="1250034"/>
            <a:ext cx="8237537" cy="1137619"/>
          </a:xfrm>
        </p:spPr>
        <p:txBody>
          <a:bodyPr/>
          <a:lstStyle/>
          <a:p>
            <a:r>
              <a:rPr lang="pt-BR" dirty="0" smtClean="0"/>
              <a:t>O Custo social dos empréstimos subsidiados do bndes</a:t>
            </a:r>
          </a:p>
          <a:p>
            <a:endParaRPr lang="pt-BR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xmlns="" val="165689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xemplos internacionais – Crédito direcionado (1/2)</a:t>
            </a:r>
            <a:br>
              <a:rPr lang="pt-BR" dirty="0" smtClean="0"/>
            </a:br>
            <a:r>
              <a:rPr lang="pt-BR" dirty="0" smtClean="0">
                <a:solidFill>
                  <a:schemeClr val="accent1"/>
                </a:solidFill>
              </a:rPr>
              <a:t>Em nossa amostra,</a:t>
            </a:r>
            <a:r>
              <a:rPr lang="pt-BR" dirty="0" smtClean="0"/>
              <a:t> </a:t>
            </a:r>
            <a:r>
              <a:rPr lang="pt-BR" dirty="0" smtClean="0">
                <a:solidFill>
                  <a:schemeClr val="accent1"/>
                </a:solidFill>
              </a:rPr>
              <a:t>apenas Brasil e Índia têm crédito direcionado, porém implementado de modo diferente</a:t>
            </a:r>
            <a:endParaRPr lang="pt-BR" dirty="0">
              <a:solidFill>
                <a:schemeClr val="accent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06479" y="1939859"/>
            <a:ext cx="3931920" cy="303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4488"/>
            <a:r>
              <a:rPr lang="pt-BR" sz="1400" b="1" dirty="0" smtClean="0">
                <a:solidFill>
                  <a:srgbClr val="008AB3"/>
                </a:solidFill>
              </a:rPr>
              <a:t>Índia</a:t>
            </a:r>
          </a:p>
          <a:p>
            <a:pPr marL="344488"/>
            <a:r>
              <a:rPr lang="pt-BR" sz="1400" b="1" dirty="0" smtClean="0">
                <a:solidFill>
                  <a:srgbClr val="008AB3"/>
                </a:solidFill>
              </a:rPr>
              <a:t>Crédito </a:t>
            </a:r>
            <a:r>
              <a:rPr lang="pt-BR" sz="1400" b="1" dirty="0">
                <a:solidFill>
                  <a:srgbClr val="008AB3"/>
                </a:solidFill>
              </a:rPr>
              <a:t>direcionado com </a:t>
            </a:r>
            <a:r>
              <a:rPr lang="pt-BR" sz="1400" b="1" u="sng" dirty="0">
                <a:solidFill>
                  <a:srgbClr val="008AB3"/>
                </a:solidFill>
              </a:rPr>
              <a:t>volumes </a:t>
            </a:r>
            <a:r>
              <a:rPr lang="pt-BR" sz="1400" b="1" dirty="0">
                <a:solidFill>
                  <a:srgbClr val="008AB3"/>
                </a:solidFill>
              </a:rPr>
              <a:t>determinados </a:t>
            </a:r>
            <a:endParaRPr lang="pt-BR" sz="1400" b="1" dirty="0" smtClean="0">
              <a:solidFill>
                <a:srgbClr val="008AB3"/>
              </a:solidFill>
            </a:endParaRPr>
          </a:p>
          <a:p>
            <a:pPr marL="108000" indent="-108000" fontAlgn="base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dirty="0" smtClean="0">
                <a:solidFill>
                  <a:srgbClr val="000000"/>
                </a:solidFill>
              </a:rPr>
              <a:t>Os bancos têm meta de direcionar 40% do seu portfólio para setores prioritários (agricultura, habitacional, educacional e setores economicamente mais fracos) e </a:t>
            </a:r>
            <a:r>
              <a:rPr lang="pt-BR" sz="1400" dirty="0" err="1" smtClean="0">
                <a:solidFill>
                  <a:srgbClr val="000000"/>
                </a:solidFill>
              </a:rPr>
              <a:t>SMEs</a:t>
            </a:r>
            <a:endParaRPr lang="pt-BR" sz="1400" dirty="0" smtClean="0">
              <a:solidFill>
                <a:srgbClr val="000000"/>
              </a:solidFill>
            </a:endParaRPr>
          </a:p>
          <a:p>
            <a:pPr marL="108000" indent="-108000" fontAlgn="base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Diferente do Brasil, os empréstimos são a taxa de mercado, exceto por empréstimos agrícolas que são subsidiados</a:t>
            </a:r>
          </a:p>
          <a:p>
            <a:pPr marL="108000" indent="-108000" fontAlgn="base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dirty="0" smtClean="0">
                <a:solidFill>
                  <a:srgbClr val="000000"/>
                </a:solidFill>
              </a:rPr>
              <a:t>As penalidades pelo não cumprimento são sob forma de contribuição a um fundo de desenvolvimento rura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4376" y="1939859"/>
            <a:ext cx="3931920" cy="2790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4488" algn="l">
              <a:lnSpc>
                <a:spcPct val="100000"/>
              </a:lnSpc>
            </a:pPr>
            <a:r>
              <a:rPr lang="pt-BR" sz="1400" b="1" dirty="0" smtClean="0">
                <a:solidFill>
                  <a:srgbClr val="008AB3"/>
                </a:solidFill>
              </a:rPr>
              <a:t>Brasil</a:t>
            </a:r>
          </a:p>
          <a:p>
            <a:pPr marL="344488" algn="l">
              <a:lnSpc>
                <a:spcPct val="100000"/>
              </a:lnSpc>
            </a:pPr>
            <a:r>
              <a:rPr lang="pt-BR" sz="1400" b="1" dirty="0" smtClean="0">
                <a:solidFill>
                  <a:srgbClr val="008AB3"/>
                </a:solidFill>
              </a:rPr>
              <a:t>Crédito direcionado com </a:t>
            </a:r>
            <a:r>
              <a:rPr lang="pt-BR" sz="1400" b="1" u="sng" dirty="0" smtClean="0">
                <a:solidFill>
                  <a:srgbClr val="008AB3"/>
                </a:solidFill>
              </a:rPr>
              <a:t>taxas de juros </a:t>
            </a:r>
            <a:r>
              <a:rPr lang="pt-BR" sz="1400" b="1" dirty="0" smtClean="0">
                <a:solidFill>
                  <a:srgbClr val="008AB3"/>
                </a:solidFill>
              </a:rPr>
              <a:t>determinadas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 smtClean="0">
                <a:solidFill>
                  <a:srgbClr val="000000"/>
                </a:solidFill>
              </a:rPr>
              <a:t>Os bancos têm que emprestar às seguintes taxas de juros no Brasil:</a:t>
            </a:r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>
                <a:solidFill>
                  <a:srgbClr val="000000"/>
                </a:solidFill>
              </a:rPr>
              <a:t>Empréstimo para hipoteca, limitado a (taxa de referência) TR+12% (para financiamento baseado em poupança)</a:t>
            </a:r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>
                <a:solidFill>
                  <a:srgbClr val="000000"/>
                </a:solidFill>
              </a:rPr>
              <a:t>Empréstimo agrícola com taxas variando de acordo com a fonte de financiamento, até 5,5%</a:t>
            </a:r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>
                <a:solidFill>
                  <a:srgbClr val="000000"/>
                </a:solidFill>
              </a:rPr>
              <a:t>Empréstimo do BNDES com TJLP + até 3% </a:t>
            </a: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custData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206479" y="1881476"/>
            <a:ext cx="274484" cy="27432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custData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54376" y="1919136"/>
            <a:ext cx="274484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1062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xemplos internacionais – Crédito direcionado (2/2)</a:t>
            </a:r>
            <a:br>
              <a:rPr lang="pt-BR" dirty="0" smtClean="0"/>
            </a:br>
            <a:r>
              <a:rPr lang="pt-BR" dirty="0" smtClean="0">
                <a:solidFill>
                  <a:schemeClr val="accent1"/>
                </a:solidFill>
              </a:rPr>
              <a:t>Outros países têm programas mais flexíveis para alcançar objetivos similares</a:t>
            </a:r>
            <a:endParaRPr lang="pt-BR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78898" y="1401976"/>
            <a:ext cx="5359693" cy="4721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 smtClean="0">
                <a:solidFill>
                  <a:srgbClr val="008AB3"/>
                </a:solidFill>
              </a:rPr>
              <a:t>Exemplos</a:t>
            </a:r>
            <a:endParaRPr lang="pt-BR" sz="1400" dirty="0" smtClean="0">
              <a:solidFill>
                <a:srgbClr val="000000"/>
              </a:solidFill>
            </a:endParaRP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endParaRPr lang="pt-BR" sz="1400" b="1" dirty="0" smtClean="0">
              <a:solidFill>
                <a:srgbClr val="000000"/>
              </a:solidFill>
            </a:endParaRP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EUA:</a:t>
            </a:r>
            <a:r>
              <a:rPr lang="pt-BR" sz="1400" dirty="0" smtClean="0">
                <a:solidFill>
                  <a:srgbClr val="000000"/>
                </a:solidFill>
              </a:rPr>
              <a:t> Empréstimos para segmentos de baixa renda nos termos da Lei de Reinvestimento Comunitário. Empréstimo patrocinado pelo governo para pequenas e médias empresas nos termos dos empréstimos para a Administração de Pequenos Negócios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Coréia do Sul: </a:t>
            </a:r>
            <a:r>
              <a:rPr lang="pt-BR" sz="1400" dirty="0" smtClean="0">
                <a:solidFill>
                  <a:srgbClr val="000000"/>
                </a:solidFill>
              </a:rPr>
              <a:t> Programas específicos para grupos de baixa renda e para pequenas e médias empresas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Rússia:</a:t>
            </a:r>
            <a:r>
              <a:rPr lang="pt-BR" sz="1400" dirty="0" smtClean="0">
                <a:solidFill>
                  <a:srgbClr val="000000"/>
                </a:solidFill>
              </a:rPr>
              <a:t> incentivo aos bancos participantes em empréstimos para Hipoteca e Pequenas e Médias Empresas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Reino Unido:</a:t>
            </a:r>
            <a:r>
              <a:rPr lang="pt-BR" sz="1400" dirty="0" smtClean="0">
                <a:solidFill>
                  <a:srgbClr val="000000"/>
                </a:solidFill>
              </a:rPr>
              <a:t> os maiores bancos contratam e assumem metas para o fornecimento de empréstimos para pequenas e médias empresas nos termos do Projeto Merlin, mas os bancos não são penalizados por não atingir as metas ou não participar 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Alemanha</a:t>
            </a:r>
            <a:r>
              <a:rPr lang="pt-BR" sz="1400" dirty="0" smtClean="0">
                <a:solidFill>
                  <a:srgbClr val="000000"/>
                </a:solidFill>
              </a:rPr>
              <a:t>: Financiamento de longo prazo patrocinado pelo KFW (Banco Alemão de Desenvolvimento) para mercados de médio porte e para habitação com eficiência energética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b="1" dirty="0" smtClean="0">
                <a:solidFill>
                  <a:srgbClr val="000000"/>
                </a:solidFill>
              </a:rPr>
              <a:t>México:</a:t>
            </a:r>
            <a:r>
              <a:rPr lang="pt-BR" sz="1400" dirty="0" smtClean="0">
                <a:solidFill>
                  <a:srgbClr val="000000"/>
                </a:solidFill>
              </a:rPr>
              <a:t> Financiamento através de instituições financeiras públicas (Financiera Rural, por exemplo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3" y="1401487"/>
            <a:ext cx="2528594" cy="42242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buSzPct val="100000"/>
            </a:pPr>
            <a:r>
              <a:rPr lang="pt-BR" sz="1400" b="1" dirty="0" smtClean="0">
                <a:solidFill>
                  <a:schemeClr val="accent1"/>
                </a:solidFill>
              </a:rPr>
              <a:t>Outros países com programas mais flexíveis</a:t>
            </a:r>
          </a:p>
          <a:p>
            <a:pPr fontAlgn="base">
              <a:spcBef>
                <a:spcPts val="600"/>
              </a:spcBef>
              <a:buSzPct val="100000"/>
            </a:pPr>
            <a:endParaRPr lang="pt-BR" sz="1400" b="1" dirty="0" smtClean="0">
              <a:solidFill>
                <a:schemeClr val="accent1"/>
              </a:solidFill>
            </a:endParaRP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>
                <a:solidFill>
                  <a:srgbClr val="000000"/>
                </a:solidFill>
              </a:rPr>
              <a:t>Outros </a:t>
            </a:r>
            <a:r>
              <a:rPr lang="pt-BR" sz="1400" dirty="0" smtClean="0">
                <a:solidFill>
                  <a:srgbClr val="000000"/>
                </a:solidFill>
              </a:rPr>
              <a:t>países têm programas de incentivo pelo </a:t>
            </a:r>
            <a:r>
              <a:rPr lang="pt-BR" sz="1400" dirty="0">
                <a:solidFill>
                  <a:srgbClr val="000000"/>
                </a:solidFill>
              </a:rPr>
              <a:t>governo para atingir os objetivos de tornar os empréstimos disponíveis para setores e segmentos específicos</a:t>
            </a: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>
                <a:solidFill>
                  <a:srgbClr val="000000"/>
                </a:solidFill>
              </a:rPr>
              <a:t>Tais programas são diretamente subsidiados pelo governo </a:t>
            </a:r>
            <a:r>
              <a:rPr lang="pt-BR" sz="1400" dirty="0" smtClean="0">
                <a:solidFill>
                  <a:srgbClr val="000000"/>
                </a:solidFill>
              </a:rPr>
              <a:t>de forma transparênte e com previsão orçamentária</a:t>
            </a:r>
            <a:endParaRPr lang="pt-BR" sz="1400" dirty="0">
              <a:solidFill>
                <a:srgbClr val="000000"/>
              </a:solidFill>
            </a:endParaRPr>
          </a:p>
          <a:p>
            <a:pPr marL="180000" indent="-1800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>
                <a:solidFill>
                  <a:srgbClr val="000000"/>
                </a:solidFill>
              </a:rPr>
              <a:t>Bancos participantes obtêm incentivos, mas os não participantes não são penalizados </a:t>
            </a:r>
          </a:p>
        </p:txBody>
      </p:sp>
      <p:sp>
        <p:nvSpPr>
          <p:cNvPr id="3" name="Freeform 2"/>
          <p:cNvSpPr/>
          <p:nvPr/>
        </p:nvSpPr>
        <p:spPr>
          <a:xfrm>
            <a:off x="3256379" y="3621325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custData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5686277"/>
            <a:ext cx="274484" cy="2743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>
            <p:custDataLst>
              <p:custData r:id="rId2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2035609"/>
            <a:ext cx="274484" cy="2743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>
            <p:custDataLst>
              <p:custData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2965626"/>
            <a:ext cx="274484" cy="2743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>
            <p:custDataLst>
              <p:custData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4965961"/>
            <a:ext cx="274484" cy="27432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custData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3499836"/>
            <a:ext cx="274484" cy="27432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custData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14571" y="4010138"/>
            <a:ext cx="274484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9812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679772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20483" name="think-cell Slide" r:id="rId4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flexões finais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7198" y="1179703"/>
            <a:ext cx="7799296" cy="4683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Os subsídios implícitos (e explícitos) na TJLP representam: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Uma limitação à queda da taxa básica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Um custo de crédito mais alto para a população e as empresas em geral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Os impactos econômicos e sociais dos empréstimos subsidiados do BNDES vão na direção contrária do desejado: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Encarecem e reduzem o crédito para os que mais precisam (consumidores e pequenas e médias empresas)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Pioram a produtividade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Agravam os índices de concentração de renda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A redução dos subsídios com a migração para a TLP tem impacto positivo sobre as distorções de mercado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Permite a continuidade do processo de convergência para taxas de juros mais baixas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Dá tranparência aos subsídios concedidos</a:t>
            </a:r>
          </a:p>
          <a:p>
            <a:pPr marL="637200" lvl="1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600" dirty="0" smtClean="0"/>
              <a:t>Reduz o subsídio cruzado no mercado de crédito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xmlns="" val="358258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68873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1239401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9461" name="think-cell Slide" r:id="rId4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7198" y="1394857"/>
            <a:ext cx="779929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Evolução do crédito no Brasil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Papel do BNDES na expansão do crédito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Custo do crédito no Brasil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Impacto dos empréstimos subsidiados do BNDES no custo do crédito no Brasil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Experiências internacionais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2000" dirty="0" smtClean="0"/>
              <a:t>Reflexões finais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xmlns="" val="3539510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9168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6307" name="think-cell Slide" r:id="rId23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 mercado de crédito no Brasil foi fortemente impulsionado pelos créditos direcionados</a:t>
            </a:r>
            <a:endParaRPr lang="pt-BR" dirty="0"/>
          </a:p>
        </p:txBody>
      </p:sp>
      <p:sp>
        <p:nvSpPr>
          <p:cNvPr id="15" name="Footnote"/>
          <p:cNvSpPr/>
          <p:nvPr/>
        </p:nvSpPr>
        <p:spPr>
          <a:xfrm>
            <a:off x="457219" y="6353835"/>
            <a:ext cx="868680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GB" sz="800" kern="0" dirty="0" smtClean="0">
                <a:solidFill>
                  <a:schemeClr val="tx1"/>
                </a:solidFill>
              </a:rPr>
              <a:t>Fonte:</a:t>
            </a:r>
            <a:r>
              <a:rPr lang="pt-BR" sz="800" kern="0" dirty="0" smtClean="0"/>
              <a:t> </a:t>
            </a:r>
            <a:r>
              <a:rPr lang="pt-BR" sz="800" kern="0" dirty="0"/>
              <a:t>Séries temporais </a:t>
            </a:r>
            <a:r>
              <a:rPr lang="pt-BR" sz="800" kern="0" dirty="0" smtClean="0"/>
              <a:t>BCB</a:t>
            </a:r>
            <a:endParaRPr lang="en-GB" sz="800" kern="0" dirty="0"/>
          </a:p>
        </p:txBody>
      </p:sp>
      <p:graphicFrame>
        <p:nvGraphicFramePr>
          <p:cNvPr id="1055" name="Object 10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56657829"/>
              </p:ext>
            </p:extLst>
          </p:nvPr>
        </p:nvGraphicFramePr>
        <p:xfrm>
          <a:off x="342900" y="2171699"/>
          <a:ext cx="4099537" cy="2651832"/>
        </p:xfrm>
        <a:graphic>
          <a:graphicData uri="http://schemas.openxmlformats.org/presentationml/2006/ole">
            <p:oleObj spid="_x0000_s6308" name="Chart" r:id="rId24" imgW="4099537" imgH="2651832" progId="MSGraph.Chart.8">
              <p:embed followColorScheme="full"/>
            </p:oleObj>
          </a:graphicData>
        </a:graphic>
      </p:graphicFrame>
      <p:sp useBgFill="1">
        <p:nvSpPr>
          <p:cNvPr id="577" name="BodyText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149600" y="2232025"/>
            <a:ext cx="407988" cy="152400"/>
          </a:xfrm>
          <a:prstGeom prst="rect">
            <a:avLst/>
          </a:prstGeom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23C7B1-7872-4D35-BB69-BC87EAB996C9}" type="datetime'''51''''''.''''''''''''1''''''''''''''''''''''%''''''''''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1%</a:t>
            </a:fld>
            <a:endParaRPr lang="en-GB" sz="1000" dirty="0" smtClean="0">
              <a:sym typeface="+mn-lt"/>
            </a:endParaRPr>
          </a:p>
        </p:txBody>
      </p:sp>
      <p:sp>
        <p:nvSpPr>
          <p:cNvPr id="569" name="BodyText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598863" y="2109788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D49D2A-7DF2-4CD0-BE5B-978FAA8265FE}" type="datetime'5''''''''''''''3''''''.''''''''''''''''7''''''''''%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7%</a:t>
            </a:fld>
            <a:endParaRPr lang="en-GB" sz="1000" dirty="0" smtClean="0">
              <a:sym typeface="+mn-lt"/>
            </a:endParaRPr>
          </a:p>
        </p:txBody>
      </p:sp>
      <p:sp useBgFill="1">
        <p:nvSpPr>
          <p:cNvPr id="541" name="BodyText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78288" y="2352675"/>
            <a:ext cx="407988" cy="152400"/>
          </a:xfrm>
          <a:prstGeom prst="rect">
            <a:avLst/>
          </a:prstGeom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60C0A1-1D9B-46E7-9974-17925F46DF0F}" type="datetime'''''''4''''''''''8''''''''''''''''''.''4''''''''%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4%</a:t>
            </a:fld>
            <a:endParaRPr lang="en-GB" sz="1000" dirty="0" smtClean="0">
              <a:sym typeface="+mn-lt"/>
            </a:endParaRPr>
          </a:p>
        </p:txBody>
      </p:sp>
      <p:sp>
        <p:nvSpPr>
          <p:cNvPr id="576" name="BodyText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47925" y="2314575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DDAC2C-706E-4B1C-B7B2-D61A8C4CC698}" type="datetime'4''''''''''''''''9''''''''''''''.''''''2''''''%''''''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2%</a:t>
            </a:fld>
            <a:endParaRPr lang="en-GB" sz="1000" dirty="0" smtClean="0">
              <a:sym typeface="+mn-lt"/>
            </a:endParaRPr>
          </a:p>
        </p:txBody>
      </p:sp>
      <p:sp>
        <p:nvSpPr>
          <p:cNvPr id="578" name="BodyText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16088" y="2566988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401A35-D745-4D63-8251-2B2C73888DAF}" type="datetime'''''''''''''''''''''''''''''43.''''''7''''''''''%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7%</a:t>
            </a:fld>
            <a:endParaRPr lang="en-GB" sz="1000" dirty="0" smtClean="0">
              <a:sym typeface="+mn-lt"/>
            </a:endParaRPr>
          </a:p>
        </p:txBody>
      </p:sp>
      <p:sp useBgFill="1">
        <p:nvSpPr>
          <p:cNvPr id="567" name="BodyText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88950" y="3146425"/>
            <a:ext cx="407988" cy="152400"/>
          </a:xfrm>
          <a:prstGeom prst="rect">
            <a:avLst/>
          </a:prstGeom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99FE86-FB78-4B6D-A407-F324CB73488A}" type="datetime'3''''''''''''''1''''''''.''''''''''''''''''''1%''''''''''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en-GB" sz="1000" dirty="0" smtClean="0">
              <a:sym typeface="+mn-lt"/>
            </a:endParaRPr>
          </a:p>
        </p:txBody>
      </p:sp>
      <p:sp useBgFill="1">
        <p:nvSpPr>
          <p:cNvPr id="571" name="BodyText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54088" y="2757488"/>
            <a:ext cx="407988" cy="152400"/>
          </a:xfrm>
          <a:prstGeom prst="rect">
            <a:avLst/>
          </a:prstGeom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3D7956-70AA-4CC9-A735-6CD28355B875}" type="datetime'''''''''''''''''3''''''''''9''.''''''''''''6''''''''''''%'''">
              <a:rPr lang="en-GB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6%</a:t>
            </a:fld>
            <a:endParaRPr lang="en-GB" sz="1000" dirty="0" smtClean="0">
              <a:sym typeface="+mn-lt"/>
            </a:endParaRPr>
          </a:p>
        </p:txBody>
      </p:sp>
      <p:sp>
        <p:nvSpPr>
          <p:cNvPr id="542" name="Rectangle 541"/>
          <p:cNvSpPr/>
          <p:nvPr>
            <p:custDataLst>
              <p:tags r:id="rId10"/>
            </p:custDataLst>
          </p:nvPr>
        </p:nvSpPr>
        <p:spPr bwMode="auto">
          <a:xfrm>
            <a:off x="512763" y="5110163"/>
            <a:ext cx="214313" cy="160338"/>
          </a:xfrm>
          <a:prstGeom prst="rect">
            <a:avLst/>
          </a:prstGeom>
          <a:solidFill>
            <a:srgbClr val="B9B9B9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43" name="Rectangle 542"/>
          <p:cNvSpPr/>
          <p:nvPr>
            <p:custDataLst>
              <p:tags r:id="rId11"/>
            </p:custDataLst>
          </p:nvPr>
        </p:nvSpPr>
        <p:spPr bwMode="auto">
          <a:xfrm>
            <a:off x="512763" y="5343525"/>
            <a:ext cx="214313" cy="160338"/>
          </a:xfrm>
          <a:prstGeom prst="rect">
            <a:avLst/>
          </a:prstGeom>
          <a:solidFill>
            <a:srgbClr val="9DE0ED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20" name="BodyText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77875" y="5338763"/>
            <a:ext cx="1839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7A45AF-375A-4B96-8165-8698629033C9}" type="datetime'Crédito'' ''d''''i''recionad''o'''' ''(%''PI''''''''''B'')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édito direcionado (%PIB)</a:t>
            </a:fld>
            <a:endParaRPr lang="en-GB" sz="1200" dirty="0" smtClean="0">
              <a:sym typeface="+mn-lt"/>
            </a:endParaRPr>
          </a:p>
        </p:txBody>
      </p:sp>
      <p:sp>
        <p:nvSpPr>
          <p:cNvPr id="419" name="BodyText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77875" y="5105400"/>
            <a:ext cx="1335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AE07D0-97E1-4931-A736-91D298D9D13B}" type="datetime'''Cré''''''di''''''t''o'' livr''''e'''''' (%''P''IB)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édito livre (%PIB)</a:t>
            </a:fld>
            <a:endParaRPr lang="en-GB" sz="1200" dirty="0" smtClean="0">
              <a:sym typeface="+mn-lt"/>
            </a:endParaRPr>
          </a:p>
        </p:txBody>
      </p:sp>
      <p:sp>
        <p:nvSpPr>
          <p:cNvPr id="548" name="TextBox 547"/>
          <p:cNvSpPr txBox="1"/>
          <p:nvPr/>
        </p:nvSpPr>
        <p:spPr>
          <a:xfrm>
            <a:off x="457200" y="4791075"/>
            <a:ext cx="40961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000" b="1" kern="0" dirty="0" smtClean="0">
                <a:solidFill>
                  <a:schemeClr val="accent3"/>
                </a:solidFill>
              </a:rPr>
              <a:t>2007            2009</a:t>
            </a:r>
            <a:r>
              <a:rPr lang="pt-BR" sz="1000" b="1" kern="0" dirty="0">
                <a:solidFill>
                  <a:schemeClr val="accent3"/>
                </a:solidFill>
              </a:rPr>
              <a:t> </a:t>
            </a:r>
            <a:r>
              <a:rPr lang="pt-BR" sz="1000" b="1" kern="0" dirty="0" smtClean="0">
                <a:solidFill>
                  <a:schemeClr val="accent3"/>
                </a:solidFill>
              </a:rPr>
              <a:t>           2011            2013</a:t>
            </a:r>
            <a:r>
              <a:rPr lang="pt-BR" sz="1000" b="1" kern="0" dirty="0">
                <a:solidFill>
                  <a:schemeClr val="accent3"/>
                </a:solidFill>
              </a:rPr>
              <a:t> </a:t>
            </a:r>
            <a:r>
              <a:rPr lang="pt-BR" sz="1000" b="1" kern="0" dirty="0" smtClean="0">
                <a:solidFill>
                  <a:schemeClr val="accent3"/>
                </a:solidFill>
              </a:rPr>
              <a:t>           2015            Mai/17  </a:t>
            </a:r>
            <a:endParaRPr lang="en-GB" sz="1000" b="1" kern="0" dirty="0" err="1" smtClean="0">
              <a:solidFill>
                <a:schemeClr val="accent3"/>
              </a:solidFill>
            </a:endParaRPr>
          </a:p>
        </p:txBody>
      </p:sp>
      <p:graphicFrame>
        <p:nvGraphicFramePr>
          <p:cNvPr id="555" name="Object 5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72739324"/>
              </p:ext>
            </p:extLst>
          </p:nvPr>
        </p:nvGraphicFramePr>
        <p:xfrm>
          <a:off x="5981700" y="1676399"/>
          <a:ext cx="1409662" cy="1394496"/>
        </p:xfrm>
        <a:graphic>
          <a:graphicData uri="http://schemas.openxmlformats.org/presentationml/2006/ole">
            <p:oleObj spid="_x0000_s6309" name="Chart" r:id="rId25" imgW="1409662" imgH="1394496" progId="MSGraph.Chart.8">
              <p:embed followColorScheme="full"/>
            </p:oleObj>
          </a:graphicData>
        </a:graphic>
      </p:graphicFrame>
      <p:sp>
        <p:nvSpPr>
          <p:cNvPr id="563" name="BodyText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224588" y="2057400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474032-E8B6-44C1-B5E3-096801A49A9E}" type="datetime'''''''''''''''''2''''''''''''''''''''''6''''''.''''6%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en-GB" sz="1000" dirty="0" smtClean="0">
              <a:sym typeface="+mn-lt"/>
            </a:endParaRPr>
          </a:p>
        </p:txBody>
      </p:sp>
      <p:sp>
        <p:nvSpPr>
          <p:cNvPr id="556" name="BodyText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767513" y="2043113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5C407D-0A4E-4720-B750-5CEB475DCAE9}" type="datetime'''''2''''''''''''5.''''''''''''''''''''''''''1%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1%</a:t>
            </a:fld>
            <a:endParaRPr lang="en-GB" sz="1000" dirty="0" smtClean="0">
              <a:sym typeface="+mn-lt"/>
            </a:endParaRPr>
          </a:p>
        </p:txBody>
      </p:sp>
      <p:sp>
        <p:nvSpPr>
          <p:cNvPr id="557" name="BodyText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62750" y="2579688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5D49C-AFE8-4A44-B874-FCAE2F78631B}" type="datetime'''''''''''''2''''''''''''''5.''''''''2''''''''''%'''''''''''">
              <a:rPr lang="en-GB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2%</a:t>
            </a:fld>
            <a:endParaRPr lang="en-GB" sz="10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58" name="BodyText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245225" y="2584450"/>
            <a:ext cx="407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F966C4-E004-42B5-B2E6-197C8627C743}" type="datetime'''2''3.1''''''''''''''''''''''''''''''''''''%'''''">
              <a:rPr lang="en-GB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en-GB" sz="10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5" name="Rectangle 574"/>
          <p:cNvSpPr/>
          <p:nvPr>
            <p:custDataLst>
              <p:tags r:id="rId18"/>
            </p:custDataLst>
          </p:nvPr>
        </p:nvSpPr>
        <p:spPr bwMode="auto">
          <a:xfrm>
            <a:off x="5238750" y="3324225"/>
            <a:ext cx="214313" cy="160338"/>
          </a:xfrm>
          <a:prstGeom prst="rect">
            <a:avLst/>
          </a:prstGeom>
          <a:solidFill>
            <a:srgbClr val="BFBFB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74" name="Rectangle 573"/>
          <p:cNvSpPr/>
          <p:nvPr>
            <p:custDataLst>
              <p:tags r:id="rId19"/>
            </p:custDataLst>
          </p:nvPr>
        </p:nvSpPr>
        <p:spPr bwMode="auto">
          <a:xfrm>
            <a:off x="5238750" y="3090863"/>
            <a:ext cx="214313" cy="160338"/>
          </a:xfrm>
          <a:prstGeom prst="rect">
            <a:avLst/>
          </a:prstGeom>
          <a:solidFill>
            <a:srgbClr val="60606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61" name="BodyText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503863" y="3086100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90DF63-BE95-427D-9E2C-65DCA977AA34}" type="datetime'L''''''iv''''r''''''''''''''''''''''e ''PJ''''''''''''''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re PJ</a:t>
            </a:fld>
            <a:endParaRPr lang="en-GB" sz="1200" dirty="0" smtClean="0">
              <a:sym typeface="+mn-lt"/>
            </a:endParaRPr>
          </a:p>
        </p:txBody>
      </p:sp>
      <p:sp>
        <p:nvSpPr>
          <p:cNvPr id="564" name="BodyText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03863" y="3319463"/>
            <a:ext cx="566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78F5E9-FE18-47C4-A149-34AA7663908C}" type="datetime'L''''''i''''''''v''r''e ''''''''''''PF''''''''''''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re PF</a:t>
            </a:fld>
            <a:endParaRPr lang="en-GB" sz="1200" dirty="0" smtClean="0">
              <a:sym typeface="+mn-lt"/>
            </a:endParaRPr>
          </a:p>
        </p:txBody>
      </p:sp>
      <p:sp>
        <p:nvSpPr>
          <p:cNvPr id="579" name="Freeform 578"/>
          <p:cNvSpPr/>
          <p:nvPr/>
        </p:nvSpPr>
        <p:spPr>
          <a:xfrm>
            <a:off x="5080591" y="2331915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80" name="TextBox 579"/>
          <p:cNvSpPr txBox="1"/>
          <p:nvPr/>
        </p:nvSpPr>
        <p:spPr>
          <a:xfrm>
            <a:off x="4553340" y="3668448"/>
            <a:ext cx="2051556" cy="1974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200" kern="0" dirty="0" smtClean="0"/>
              <a:t>Nos últimos 10 anos, os </a:t>
            </a:r>
            <a:r>
              <a:rPr lang="pt-BR" sz="1200" b="1" kern="0" dirty="0" smtClean="0"/>
              <a:t>créditos livres cresceram 3x</a:t>
            </a:r>
          </a:p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200" kern="0" dirty="0" smtClean="0"/>
              <a:t>Atualmente:</a:t>
            </a:r>
          </a:p>
          <a:p>
            <a:pPr marL="216000" lvl="1" indent="-108000">
              <a:spcBef>
                <a:spcPts val="200"/>
              </a:spcBef>
              <a:buSzPct val="100000"/>
              <a:buFont typeface="Arial"/>
              <a:buChar char="–"/>
            </a:pPr>
            <a:r>
              <a:rPr lang="pt-BR" sz="1200" b="1" kern="0" dirty="0"/>
              <a:t>Capital de giro </a:t>
            </a:r>
            <a:r>
              <a:rPr lang="pt-BR" sz="1200" kern="0" dirty="0"/>
              <a:t>representa 43% dos créditos livres a PJ</a:t>
            </a:r>
          </a:p>
          <a:p>
            <a:pPr marL="216000" lvl="1" indent="-108000">
              <a:spcBef>
                <a:spcPts val="200"/>
              </a:spcBef>
              <a:buSzPct val="100000"/>
              <a:buFont typeface="Arial"/>
              <a:buChar char="–"/>
            </a:pPr>
            <a:r>
              <a:rPr lang="pt-BR" sz="1200" b="1" kern="0" dirty="0" smtClean="0"/>
              <a:t>Consignado </a:t>
            </a:r>
            <a:r>
              <a:rPr lang="pt-BR" sz="1200" kern="0" dirty="0"/>
              <a:t>representa 37% dos créditos livres a </a:t>
            </a:r>
            <a:r>
              <a:rPr lang="pt-BR" sz="1200" kern="0" dirty="0" smtClean="0"/>
              <a:t>PF</a:t>
            </a:r>
          </a:p>
        </p:txBody>
      </p:sp>
      <p:sp>
        <p:nvSpPr>
          <p:cNvPr id="582" name="TextBox 581"/>
          <p:cNvSpPr txBox="1"/>
          <p:nvPr/>
        </p:nvSpPr>
        <p:spPr>
          <a:xfrm>
            <a:off x="452438" y="1399032"/>
            <a:ext cx="45767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Crédito do sistema financeiro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% PIB</a:t>
            </a:r>
          </a:p>
        </p:txBody>
      </p:sp>
      <p:sp>
        <p:nvSpPr>
          <p:cNvPr id="583" name="TextBox 582"/>
          <p:cNvSpPr txBox="1"/>
          <p:nvPr/>
        </p:nvSpPr>
        <p:spPr>
          <a:xfrm>
            <a:off x="5834063" y="1400175"/>
            <a:ext cx="2169919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Participação no crédito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Mai/17, % PIB</a:t>
            </a:r>
          </a:p>
        </p:txBody>
      </p:sp>
      <p:sp>
        <p:nvSpPr>
          <p:cNvPr id="597" name="TextBox 596"/>
          <p:cNvSpPr txBox="1"/>
          <p:nvPr/>
        </p:nvSpPr>
        <p:spPr>
          <a:xfrm>
            <a:off x="6762750" y="3668448"/>
            <a:ext cx="2381250" cy="1974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200" kern="0" dirty="0"/>
              <a:t>Nos últimos 10 anos, os </a:t>
            </a:r>
            <a:r>
              <a:rPr lang="pt-BR" sz="1200" b="1" kern="0" dirty="0"/>
              <a:t>créditos direcionados cresceram mais de 5x</a:t>
            </a:r>
          </a:p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200" kern="0" dirty="0" smtClean="0"/>
              <a:t>Atualmente</a:t>
            </a:r>
          </a:p>
          <a:p>
            <a:pPr marL="216000" lvl="1" indent="-108000">
              <a:spcBef>
                <a:spcPts val="200"/>
              </a:spcBef>
              <a:buSzPct val="100000"/>
              <a:buFont typeface="Arial"/>
              <a:buChar char="–"/>
            </a:pPr>
            <a:r>
              <a:rPr lang="pt-BR" sz="1200" b="1" kern="0" dirty="0"/>
              <a:t>BNDES</a:t>
            </a:r>
            <a:r>
              <a:rPr lang="pt-BR" sz="1200" kern="0" dirty="0"/>
              <a:t> representa 69% dos créditos direcionados a PJ (34% dos créditos direcionados totais)</a:t>
            </a:r>
          </a:p>
          <a:p>
            <a:pPr marL="216000" lvl="1" indent="-108000">
              <a:spcBef>
                <a:spcPts val="200"/>
              </a:spcBef>
              <a:buSzPct val="100000"/>
              <a:buFont typeface="Arial"/>
              <a:buChar char="–"/>
            </a:pPr>
            <a:r>
              <a:rPr lang="pt-BR" sz="1200" b="1" kern="0" dirty="0" smtClean="0"/>
              <a:t>Habitacional </a:t>
            </a:r>
            <a:r>
              <a:rPr lang="pt-BR" sz="1200" kern="0" dirty="0" smtClean="0"/>
              <a:t>representa 71% dos créditos direcionados a PF</a:t>
            </a:r>
          </a:p>
        </p:txBody>
      </p:sp>
      <p:cxnSp>
        <p:nvCxnSpPr>
          <p:cNvPr id="600" name="Straight Arrow Connector 599"/>
          <p:cNvCxnSpPr/>
          <p:nvPr/>
        </p:nvCxnSpPr>
        <p:spPr>
          <a:xfrm flipV="1">
            <a:off x="587829" y="3369469"/>
            <a:ext cx="3011034" cy="631468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Freeform 501"/>
          <p:cNvSpPr>
            <a:spLocks noEditPoints="1"/>
          </p:cNvSpPr>
          <p:nvPr/>
        </p:nvSpPr>
        <p:spPr bwMode="auto">
          <a:xfrm>
            <a:off x="3904282" y="2234583"/>
            <a:ext cx="756000" cy="392727"/>
          </a:xfrm>
          <a:custGeom>
            <a:avLst/>
            <a:gdLst>
              <a:gd name="T0" fmla="*/ 450 w 500"/>
              <a:gd name="T1" fmla="*/ 71 h 305"/>
              <a:gd name="T2" fmla="*/ 422 w 500"/>
              <a:gd name="T3" fmla="*/ 60 h 305"/>
              <a:gd name="T4" fmla="*/ 366 w 500"/>
              <a:gd name="T5" fmla="*/ 54 h 305"/>
              <a:gd name="T6" fmla="*/ 299 w 500"/>
              <a:gd name="T7" fmla="*/ 46 h 305"/>
              <a:gd name="T8" fmla="*/ 265 w 500"/>
              <a:gd name="T9" fmla="*/ 53 h 305"/>
              <a:gd name="T10" fmla="*/ 264 w 500"/>
              <a:gd name="T11" fmla="*/ 53 h 305"/>
              <a:gd name="T12" fmla="*/ 265 w 500"/>
              <a:gd name="T13" fmla="*/ 51 h 305"/>
              <a:gd name="T14" fmla="*/ 265 w 500"/>
              <a:gd name="T15" fmla="*/ 51 h 305"/>
              <a:gd name="T16" fmla="*/ 264 w 500"/>
              <a:gd name="T17" fmla="*/ 51 h 305"/>
              <a:gd name="T18" fmla="*/ 265 w 500"/>
              <a:gd name="T19" fmla="*/ 58 h 305"/>
              <a:gd name="T20" fmla="*/ 263 w 500"/>
              <a:gd name="T21" fmla="*/ 51 h 305"/>
              <a:gd name="T22" fmla="*/ 262 w 500"/>
              <a:gd name="T23" fmla="*/ 53 h 305"/>
              <a:gd name="T24" fmla="*/ 262 w 500"/>
              <a:gd name="T25" fmla="*/ 56 h 305"/>
              <a:gd name="T26" fmla="*/ 262 w 500"/>
              <a:gd name="T27" fmla="*/ 58 h 305"/>
              <a:gd name="T28" fmla="*/ 339 w 500"/>
              <a:gd name="T29" fmla="*/ 54 h 305"/>
              <a:gd name="T30" fmla="*/ 264 w 500"/>
              <a:gd name="T31" fmla="*/ 56 h 305"/>
              <a:gd name="T32" fmla="*/ 263 w 500"/>
              <a:gd name="T33" fmla="*/ 56 h 305"/>
              <a:gd name="T34" fmla="*/ 260 w 500"/>
              <a:gd name="T35" fmla="*/ 52 h 305"/>
              <a:gd name="T36" fmla="*/ 263 w 500"/>
              <a:gd name="T37" fmla="*/ 52 h 305"/>
              <a:gd name="T38" fmla="*/ 494 w 500"/>
              <a:gd name="T39" fmla="*/ 169 h 305"/>
              <a:gd name="T40" fmla="*/ 465 w 500"/>
              <a:gd name="T41" fmla="*/ 217 h 305"/>
              <a:gd name="T42" fmla="*/ 167 w 500"/>
              <a:gd name="T43" fmla="*/ 304 h 305"/>
              <a:gd name="T44" fmla="*/ 2 w 500"/>
              <a:gd name="T45" fmla="*/ 232 h 305"/>
              <a:gd name="T46" fmla="*/ 61 w 500"/>
              <a:gd name="T47" fmla="*/ 102 h 305"/>
              <a:gd name="T48" fmla="*/ 180 w 500"/>
              <a:gd name="T49" fmla="*/ 28 h 305"/>
              <a:gd name="T50" fmla="*/ 304 w 500"/>
              <a:gd name="T51" fmla="*/ 1 h 305"/>
              <a:gd name="T52" fmla="*/ 398 w 500"/>
              <a:gd name="T53" fmla="*/ 6 h 305"/>
              <a:gd name="T54" fmla="*/ 416 w 500"/>
              <a:gd name="T55" fmla="*/ 12 h 305"/>
              <a:gd name="T56" fmla="*/ 424 w 500"/>
              <a:gd name="T57" fmla="*/ 14 h 305"/>
              <a:gd name="T58" fmla="*/ 431 w 500"/>
              <a:gd name="T59" fmla="*/ 19 h 305"/>
              <a:gd name="T60" fmla="*/ 431 w 500"/>
              <a:gd name="T61" fmla="*/ 26 h 305"/>
              <a:gd name="T62" fmla="*/ 423 w 500"/>
              <a:gd name="T63" fmla="*/ 32 h 305"/>
              <a:gd name="T64" fmla="*/ 416 w 500"/>
              <a:gd name="T65" fmla="*/ 31 h 305"/>
              <a:gd name="T66" fmla="*/ 411 w 500"/>
              <a:gd name="T67" fmla="*/ 27 h 305"/>
              <a:gd name="T68" fmla="*/ 383 w 500"/>
              <a:gd name="T69" fmla="*/ 20 h 305"/>
              <a:gd name="T70" fmla="*/ 196 w 500"/>
              <a:gd name="T71" fmla="*/ 38 h 305"/>
              <a:gd name="T72" fmla="*/ 59 w 500"/>
              <a:gd name="T73" fmla="*/ 125 h 305"/>
              <a:gd name="T74" fmla="*/ 51 w 500"/>
              <a:gd name="T75" fmla="*/ 267 h 305"/>
              <a:gd name="T76" fmla="*/ 251 w 500"/>
              <a:gd name="T77" fmla="*/ 289 h 305"/>
              <a:gd name="T78" fmla="*/ 456 w 500"/>
              <a:gd name="T79" fmla="*/ 207 h 305"/>
              <a:gd name="T80" fmla="*/ 487 w 500"/>
              <a:gd name="T81" fmla="*/ 146 h 305"/>
              <a:gd name="T82" fmla="*/ 462 w 500"/>
              <a:gd name="T83" fmla="*/ 91 h 305"/>
              <a:gd name="T84" fmla="*/ 402 w 500"/>
              <a:gd name="T85" fmla="*/ 64 h 305"/>
              <a:gd name="T86" fmla="*/ 367 w 500"/>
              <a:gd name="T87" fmla="*/ 55 h 305"/>
              <a:gd name="T88" fmla="*/ 262 w 500"/>
              <a:gd name="T89" fmla="*/ 58 h 305"/>
              <a:gd name="T90" fmla="*/ 330 w 500"/>
              <a:gd name="T91" fmla="*/ 51 h 305"/>
              <a:gd name="T92" fmla="*/ 418 w 500"/>
              <a:gd name="T93" fmla="*/ 66 h 305"/>
              <a:gd name="T94" fmla="*/ 338 w 500"/>
              <a:gd name="T95" fmla="*/ 47 h 305"/>
              <a:gd name="T96" fmla="*/ 375 w 500"/>
              <a:gd name="T97" fmla="*/ 51 h 305"/>
              <a:gd name="T98" fmla="*/ 369 w 500"/>
              <a:gd name="T99" fmla="*/ 49 h 305"/>
              <a:gd name="T100" fmla="*/ 320 w 500"/>
              <a:gd name="T101" fmla="*/ 45 h 305"/>
              <a:gd name="T102" fmla="*/ 321 w 500"/>
              <a:gd name="T103" fmla="*/ 44 h 305"/>
              <a:gd name="T104" fmla="*/ 307 w 500"/>
              <a:gd name="T105" fmla="*/ 44 h 305"/>
              <a:gd name="T106" fmla="*/ 360 w 500"/>
              <a:gd name="T107" fmla="*/ 45 h 305"/>
              <a:gd name="T108" fmla="*/ 424 w 500"/>
              <a:gd name="T109" fmla="*/ 61 h 305"/>
              <a:gd name="T110" fmla="*/ 480 w 500"/>
              <a:gd name="T111" fmla="*/ 91 h 305"/>
              <a:gd name="T112" fmla="*/ 500 w 500"/>
              <a:gd name="T113" fmla="*/ 148 h 305"/>
              <a:gd name="T114" fmla="*/ 366 w 500"/>
              <a:gd name="T115" fmla="*/ 47 h 305"/>
              <a:gd name="T116" fmla="*/ 391 w 500"/>
              <a:gd name="T117" fmla="*/ 61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0" h="305">
                <a:moveTo>
                  <a:pt x="484" y="124"/>
                </a:moveTo>
                <a:cubicBezTo>
                  <a:pt x="485" y="125"/>
                  <a:pt x="485" y="127"/>
                  <a:pt x="485" y="128"/>
                </a:cubicBezTo>
                <a:lnTo>
                  <a:pt x="484" y="124"/>
                </a:lnTo>
                <a:close/>
                <a:moveTo>
                  <a:pt x="450" y="71"/>
                </a:moveTo>
                <a:cubicBezTo>
                  <a:pt x="449" y="70"/>
                  <a:pt x="448" y="69"/>
                  <a:pt x="445" y="68"/>
                </a:cubicBezTo>
                <a:cubicBezTo>
                  <a:pt x="445" y="68"/>
                  <a:pt x="449" y="70"/>
                  <a:pt x="450" y="71"/>
                </a:cubicBezTo>
                <a:close/>
                <a:moveTo>
                  <a:pt x="438" y="65"/>
                </a:moveTo>
                <a:cubicBezTo>
                  <a:pt x="440" y="66"/>
                  <a:pt x="443" y="67"/>
                  <a:pt x="443" y="67"/>
                </a:cubicBezTo>
                <a:cubicBezTo>
                  <a:pt x="442" y="67"/>
                  <a:pt x="438" y="65"/>
                  <a:pt x="438" y="65"/>
                </a:cubicBezTo>
                <a:close/>
                <a:moveTo>
                  <a:pt x="422" y="60"/>
                </a:moveTo>
                <a:cubicBezTo>
                  <a:pt x="420" y="60"/>
                  <a:pt x="417" y="58"/>
                  <a:pt x="417" y="58"/>
                </a:cubicBezTo>
                <a:cubicBezTo>
                  <a:pt x="418" y="59"/>
                  <a:pt x="421" y="60"/>
                  <a:pt x="422" y="60"/>
                </a:cubicBezTo>
                <a:close/>
                <a:moveTo>
                  <a:pt x="413" y="55"/>
                </a:moveTo>
                <a:cubicBezTo>
                  <a:pt x="410" y="54"/>
                  <a:pt x="405" y="52"/>
                  <a:pt x="404" y="52"/>
                </a:cubicBezTo>
                <a:cubicBezTo>
                  <a:pt x="408" y="53"/>
                  <a:pt x="411" y="54"/>
                  <a:pt x="413" y="55"/>
                </a:cubicBezTo>
                <a:close/>
                <a:moveTo>
                  <a:pt x="366" y="54"/>
                </a:moveTo>
                <a:cubicBezTo>
                  <a:pt x="370" y="55"/>
                  <a:pt x="379" y="56"/>
                  <a:pt x="384" y="57"/>
                </a:cubicBezTo>
                <a:cubicBezTo>
                  <a:pt x="379" y="56"/>
                  <a:pt x="372" y="55"/>
                  <a:pt x="366" y="54"/>
                </a:cubicBezTo>
                <a:close/>
                <a:moveTo>
                  <a:pt x="366" y="49"/>
                </a:moveTo>
                <a:cubicBezTo>
                  <a:pt x="361" y="48"/>
                  <a:pt x="361" y="48"/>
                  <a:pt x="361" y="48"/>
                </a:cubicBezTo>
                <a:cubicBezTo>
                  <a:pt x="359" y="48"/>
                  <a:pt x="347" y="47"/>
                  <a:pt x="348" y="47"/>
                </a:cubicBezTo>
                <a:cubicBezTo>
                  <a:pt x="356" y="47"/>
                  <a:pt x="366" y="49"/>
                  <a:pt x="372" y="50"/>
                </a:cubicBezTo>
                <a:cubicBezTo>
                  <a:pt x="370" y="50"/>
                  <a:pt x="368" y="50"/>
                  <a:pt x="366" y="49"/>
                </a:cubicBezTo>
                <a:close/>
                <a:moveTo>
                  <a:pt x="299" y="46"/>
                </a:moveTo>
                <a:cubicBezTo>
                  <a:pt x="296" y="46"/>
                  <a:pt x="296" y="46"/>
                  <a:pt x="296" y="46"/>
                </a:cubicBezTo>
                <a:cubicBezTo>
                  <a:pt x="296" y="47"/>
                  <a:pt x="296" y="47"/>
                  <a:pt x="297" y="47"/>
                </a:cubicBezTo>
                <a:cubicBezTo>
                  <a:pt x="299" y="46"/>
                  <a:pt x="299" y="46"/>
                  <a:pt x="299" y="46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5" y="53"/>
                  <a:pt x="265" y="53"/>
                </a:cubicBezTo>
                <a:cubicBezTo>
                  <a:pt x="265" y="53"/>
                  <a:pt x="265" y="53"/>
                  <a:pt x="265" y="53"/>
                </a:cubicBezTo>
                <a:cubicBezTo>
                  <a:pt x="269" y="52"/>
                  <a:pt x="269" y="52"/>
                  <a:pt x="269" y="52"/>
                </a:cubicBezTo>
                <a:lnTo>
                  <a:pt x="264" y="53"/>
                </a:ln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3" y="53"/>
                  <a:pt x="264" y="53"/>
                  <a:pt x="264" y="53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lose/>
                <a:moveTo>
                  <a:pt x="265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5" y="51"/>
                </a:cubicBezTo>
                <a:cubicBezTo>
                  <a:pt x="265" y="51"/>
                  <a:pt x="265" y="51"/>
                  <a:pt x="265" y="51"/>
                </a:cubicBezTo>
                <a:cubicBezTo>
                  <a:pt x="265" y="51"/>
                  <a:pt x="265" y="51"/>
                  <a:pt x="265" y="50"/>
                </a:cubicBezTo>
                <a:cubicBezTo>
                  <a:pt x="265" y="51"/>
                  <a:pt x="265" y="51"/>
                  <a:pt x="265" y="51"/>
                </a:cubicBezTo>
                <a:close/>
                <a:moveTo>
                  <a:pt x="265" y="57"/>
                </a:moveTo>
                <a:cubicBezTo>
                  <a:pt x="265" y="57"/>
                  <a:pt x="265" y="57"/>
                  <a:pt x="265" y="57"/>
                </a:cubicBezTo>
                <a:cubicBezTo>
                  <a:pt x="265" y="57"/>
                  <a:pt x="265" y="57"/>
                  <a:pt x="265" y="57"/>
                </a:cubicBezTo>
                <a:close/>
                <a:moveTo>
                  <a:pt x="264" y="51"/>
                </a:moveTo>
                <a:cubicBezTo>
                  <a:pt x="264" y="51"/>
                  <a:pt x="264" y="52"/>
                  <a:pt x="264" y="52"/>
                </a:cubicBezTo>
                <a:cubicBezTo>
                  <a:pt x="264" y="52"/>
                  <a:pt x="264" y="52"/>
                  <a:pt x="264" y="51"/>
                </a:cubicBezTo>
                <a:close/>
                <a:moveTo>
                  <a:pt x="264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lose/>
                <a:moveTo>
                  <a:pt x="265" y="58"/>
                </a:moveTo>
                <a:cubicBezTo>
                  <a:pt x="265" y="58"/>
                  <a:pt x="265" y="58"/>
                  <a:pt x="265" y="58"/>
                </a:cubicBezTo>
                <a:cubicBezTo>
                  <a:pt x="265" y="58"/>
                  <a:pt x="265" y="58"/>
                  <a:pt x="265" y="58"/>
                </a:cubicBezTo>
                <a:close/>
                <a:moveTo>
                  <a:pt x="265" y="57"/>
                </a:moveTo>
                <a:cubicBezTo>
                  <a:pt x="264" y="57"/>
                  <a:pt x="264" y="57"/>
                  <a:pt x="264" y="57"/>
                </a:cubicBezTo>
                <a:cubicBezTo>
                  <a:pt x="264" y="57"/>
                  <a:pt x="265" y="57"/>
                  <a:pt x="265" y="57"/>
                </a:cubicBezTo>
                <a:close/>
                <a:moveTo>
                  <a:pt x="263" y="51"/>
                </a:moveTo>
                <a:cubicBezTo>
                  <a:pt x="263" y="51"/>
                  <a:pt x="263" y="51"/>
                  <a:pt x="263" y="51"/>
                </a:cubicBezTo>
                <a:cubicBezTo>
                  <a:pt x="263" y="51"/>
                  <a:pt x="263" y="51"/>
                  <a:pt x="263" y="51"/>
                </a:cubicBezTo>
                <a:close/>
                <a:moveTo>
                  <a:pt x="263" y="54"/>
                </a:moveTo>
                <a:cubicBezTo>
                  <a:pt x="263" y="54"/>
                  <a:pt x="263" y="53"/>
                  <a:pt x="263" y="53"/>
                </a:cubicBezTo>
                <a:cubicBezTo>
                  <a:pt x="263" y="53"/>
                  <a:pt x="263" y="53"/>
                  <a:pt x="263" y="54"/>
                </a:cubicBezTo>
                <a:close/>
                <a:moveTo>
                  <a:pt x="262" y="53"/>
                </a:moveTo>
                <a:cubicBezTo>
                  <a:pt x="263" y="53"/>
                  <a:pt x="263" y="53"/>
                  <a:pt x="263" y="53"/>
                </a:cubicBezTo>
                <a:cubicBezTo>
                  <a:pt x="263" y="53"/>
                  <a:pt x="262" y="53"/>
                  <a:pt x="262" y="53"/>
                </a:cubicBezTo>
                <a:close/>
                <a:moveTo>
                  <a:pt x="262" y="53"/>
                </a:moveTo>
                <a:cubicBezTo>
                  <a:pt x="262" y="52"/>
                  <a:pt x="262" y="53"/>
                  <a:pt x="262" y="53"/>
                </a:cubicBezTo>
                <a:cubicBezTo>
                  <a:pt x="262" y="53"/>
                  <a:pt x="262" y="52"/>
                  <a:pt x="262" y="52"/>
                </a:cubicBezTo>
                <a:cubicBezTo>
                  <a:pt x="262" y="53"/>
                  <a:pt x="262" y="53"/>
                  <a:pt x="262" y="53"/>
                </a:cubicBezTo>
                <a:close/>
                <a:moveTo>
                  <a:pt x="262" y="56"/>
                </a:moveTo>
                <a:cubicBezTo>
                  <a:pt x="263" y="56"/>
                  <a:pt x="262" y="56"/>
                  <a:pt x="262" y="56"/>
                </a:cubicBezTo>
                <a:close/>
                <a:moveTo>
                  <a:pt x="261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8"/>
                  <a:pt x="261" y="58"/>
                  <a:pt x="261" y="58"/>
                </a:cubicBezTo>
                <a:close/>
                <a:moveTo>
                  <a:pt x="262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9"/>
                  <a:pt x="262" y="59"/>
                  <a:pt x="262" y="58"/>
                </a:cubicBezTo>
                <a:close/>
                <a:moveTo>
                  <a:pt x="262" y="61"/>
                </a:moveTo>
                <a:cubicBezTo>
                  <a:pt x="262" y="61"/>
                  <a:pt x="262" y="61"/>
                  <a:pt x="262" y="61"/>
                </a:cubicBezTo>
                <a:cubicBezTo>
                  <a:pt x="262" y="61"/>
                  <a:pt x="262" y="61"/>
                  <a:pt x="262" y="61"/>
                </a:cubicBezTo>
                <a:close/>
                <a:moveTo>
                  <a:pt x="261" y="61"/>
                </a:moveTo>
                <a:cubicBezTo>
                  <a:pt x="260" y="61"/>
                  <a:pt x="260" y="61"/>
                  <a:pt x="261" y="61"/>
                </a:cubicBezTo>
                <a:close/>
                <a:moveTo>
                  <a:pt x="339" y="54"/>
                </a:moveTo>
                <a:cubicBezTo>
                  <a:pt x="334" y="54"/>
                  <a:pt x="330" y="54"/>
                  <a:pt x="326" y="54"/>
                </a:cubicBezTo>
                <a:cubicBezTo>
                  <a:pt x="329" y="54"/>
                  <a:pt x="333" y="54"/>
                  <a:pt x="336" y="54"/>
                </a:cubicBezTo>
                <a:cubicBezTo>
                  <a:pt x="336" y="54"/>
                  <a:pt x="338" y="54"/>
                  <a:pt x="339" y="54"/>
                </a:cubicBezTo>
                <a:close/>
                <a:moveTo>
                  <a:pt x="263" y="56"/>
                </a:move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5"/>
                </a:cubicBezTo>
                <a:cubicBezTo>
                  <a:pt x="265" y="56"/>
                  <a:pt x="264" y="56"/>
                  <a:pt x="263" y="56"/>
                </a:cubicBezTo>
                <a:close/>
                <a:moveTo>
                  <a:pt x="264" y="52"/>
                </a:moveTo>
                <a:cubicBezTo>
                  <a:pt x="264" y="52"/>
                  <a:pt x="264" y="52"/>
                  <a:pt x="264" y="52"/>
                </a:cubicBezTo>
                <a:cubicBezTo>
                  <a:pt x="264" y="52"/>
                  <a:pt x="263" y="52"/>
                  <a:pt x="263" y="52"/>
                </a:cubicBezTo>
                <a:cubicBezTo>
                  <a:pt x="263" y="52"/>
                  <a:pt x="264" y="52"/>
                  <a:pt x="264" y="52"/>
                </a:cubicBezTo>
                <a:close/>
                <a:moveTo>
                  <a:pt x="261" y="53"/>
                </a:moveTo>
                <a:cubicBezTo>
                  <a:pt x="261" y="52"/>
                  <a:pt x="261" y="52"/>
                  <a:pt x="260" y="52"/>
                </a:cubicBezTo>
                <a:cubicBezTo>
                  <a:pt x="260" y="53"/>
                  <a:pt x="259" y="53"/>
                  <a:pt x="259" y="53"/>
                </a:cubicBezTo>
                <a:cubicBezTo>
                  <a:pt x="259" y="53"/>
                  <a:pt x="260" y="53"/>
                  <a:pt x="260" y="53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61" y="53"/>
                  <a:pt x="261" y="53"/>
                  <a:pt x="262" y="52"/>
                </a:cubicBezTo>
                <a:cubicBezTo>
                  <a:pt x="262" y="52"/>
                  <a:pt x="262" y="52"/>
                  <a:pt x="262" y="52"/>
                </a:cubicBezTo>
                <a:cubicBezTo>
                  <a:pt x="262" y="52"/>
                  <a:pt x="263" y="52"/>
                  <a:pt x="263" y="52"/>
                </a:cubicBezTo>
                <a:cubicBezTo>
                  <a:pt x="262" y="52"/>
                  <a:pt x="262" y="52"/>
                  <a:pt x="261" y="53"/>
                </a:cubicBezTo>
                <a:close/>
                <a:moveTo>
                  <a:pt x="262" y="59"/>
                </a:moveTo>
                <a:cubicBezTo>
                  <a:pt x="262" y="59"/>
                  <a:pt x="262" y="59"/>
                  <a:pt x="262" y="59"/>
                </a:cubicBezTo>
                <a:cubicBezTo>
                  <a:pt x="262" y="59"/>
                  <a:pt x="262" y="59"/>
                  <a:pt x="262" y="59"/>
                </a:cubicBezTo>
                <a:close/>
                <a:moveTo>
                  <a:pt x="500" y="148"/>
                </a:moveTo>
                <a:cubicBezTo>
                  <a:pt x="498" y="158"/>
                  <a:pt x="496" y="166"/>
                  <a:pt x="494" y="169"/>
                </a:cubicBezTo>
                <a:cubicBezTo>
                  <a:pt x="493" y="172"/>
                  <a:pt x="495" y="168"/>
                  <a:pt x="494" y="170"/>
                </a:cubicBezTo>
                <a:cubicBezTo>
                  <a:pt x="493" y="174"/>
                  <a:pt x="490" y="181"/>
                  <a:pt x="488" y="184"/>
                </a:cubicBezTo>
                <a:cubicBezTo>
                  <a:pt x="486" y="189"/>
                  <a:pt x="483" y="194"/>
                  <a:pt x="480" y="199"/>
                </a:cubicBezTo>
                <a:cubicBezTo>
                  <a:pt x="478" y="202"/>
                  <a:pt x="477" y="204"/>
                  <a:pt x="475" y="206"/>
                </a:cubicBezTo>
                <a:cubicBezTo>
                  <a:pt x="470" y="212"/>
                  <a:pt x="470" y="212"/>
                  <a:pt x="470" y="212"/>
                </a:cubicBezTo>
                <a:cubicBezTo>
                  <a:pt x="469" y="214"/>
                  <a:pt x="466" y="216"/>
                  <a:pt x="465" y="217"/>
                </a:cubicBezTo>
                <a:cubicBezTo>
                  <a:pt x="462" y="221"/>
                  <a:pt x="456" y="228"/>
                  <a:pt x="452" y="232"/>
                </a:cubicBezTo>
                <a:cubicBezTo>
                  <a:pt x="438" y="245"/>
                  <a:pt x="422" y="256"/>
                  <a:pt x="405" y="264"/>
                </a:cubicBezTo>
                <a:cubicBezTo>
                  <a:pt x="387" y="272"/>
                  <a:pt x="369" y="278"/>
                  <a:pt x="351" y="284"/>
                </a:cubicBezTo>
                <a:cubicBezTo>
                  <a:pt x="314" y="295"/>
                  <a:pt x="277" y="301"/>
                  <a:pt x="239" y="304"/>
                </a:cubicBezTo>
                <a:cubicBezTo>
                  <a:pt x="221" y="305"/>
                  <a:pt x="200" y="305"/>
                  <a:pt x="183" y="305"/>
                </a:cubicBezTo>
                <a:cubicBezTo>
                  <a:pt x="177" y="304"/>
                  <a:pt x="172" y="304"/>
                  <a:pt x="167" y="304"/>
                </a:cubicBezTo>
                <a:cubicBezTo>
                  <a:pt x="155" y="303"/>
                  <a:pt x="142" y="302"/>
                  <a:pt x="129" y="301"/>
                </a:cubicBezTo>
                <a:cubicBezTo>
                  <a:pt x="116" y="299"/>
                  <a:pt x="103" y="298"/>
                  <a:pt x="93" y="296"/>
                </a:cubicBezTo>
                <a:cubicBezTo>
                  <a:pt x="77" y="292"/>
                  <a:pt x="61" y="288"/>
                  <a:pt x="45" y="280"/>
                </a:cubicBezTo>
                <a:cubicBezTo>
                  <a:pt x="38" y="277"/>
                  <a:pt x="32" y="273"/>
                  <a:pt x="27" y="269"/>
                </a:cubicBezTo>
                <a:cubicBezTo>
                  <a:pt x="24" y="268"/>
                  <a:pt x="22" y="266"/>
                  <a:pt x="20" y="264"/>
                </a:cubicBezTo>
                <a:cubicBezTo>
                  <a:pt x="11" y="256"/>
                  <a:pt x="4" y="244"/>
                  <a:pt x="2" y="232"/>
                </a:cubicBezTo>
                <a:cubicBezTo>
                  <a:pt x="1" y="225"/>
                  <a:pt x="0" y="219"/>
                  <a:pt x="0" y="213"/>
                </a:cubicBezTo>
                <a:cubicBezTo>
                  <a:pt x="0" y="203"/>
                  <a:pt x="2" y="191"/>
                  <a:pt x="6" y="180"/>
                </a:cubicBezTo>
                <a:cubicBezTo>
                  <a:pt x="10" y="169"/>
                  <a:pt x="16" y="158"/>
                  <a:pt x="22" y="148"/>
                </a:cubicBezTo>
                <a:cubicBezTo>
                  <a:pt x="25" y="143"/>
                  <a:pt x="29" y="139"/>
                  <a:pt x="32" y="134"/>
                </a:cubicBezTo>
                <a:cubicBezTo>
                  <a:pt x="34" y="132"/>
                  <a:pt x="36" y="130"/>
                  <a:pt x="38" y="127"/>
                </a:cubicBezTo>
                <a:cubicBezTo>
                  <a:pt x="44" y="119"/>
                  <a:pt x="54" y="109"/>
                  <a:pt x="61" y="102"/>
                </a:cubicBezTo>
                <a:cubicBezTo>
                  <a:pt x="65" y="98"/>
                  <a:pt x="69" y="95"/>
                  <a:pt x="74" y="91"/>
                </a:cubicBezTo>
                <a:cubicBezTo>
                  <a:pt x="83" y="83"/>
                  <a:pt x="92" y="76"/>
                  <a:pt x="100" y="70"/>
                </a:cubicBezTo>
                <a:cubicBezTo>
                  <a:pt x="111" y="62"/>
                  <a:pt x="128" y="52"/>
                  <a:pt x="143" y="45"/>
                </a:cubicBezTo>
                <a:cubicBezTo>
                  <a:pt x="144" y="44"/>
                  <a:pt x="144" y="44"/>
                  <a:pt x="144" y="44"/>
                </a:cubicBezTo>
                <a:cubicBezTo>
                  <a:pt x="155" y="39"/>
                  <a:pt x="166" y="33"/>
                  <a:pt x="177" y="29"/>
                </a:cubicBezTo>
                <a:cubicBezTo>
                  <a:pt x="179" y="29"/>
                  <a:pt x="179" y="29"/>
                  <a:pt x="180" y="28"/>
                </a:cubicBezTo>
                <a:cubicBezTo>
                  <a:pt x="194" y="23"/>
                  <a:pt x="194" y="23"/>
                  <a:pt x="194" y="23"/>
                </a:cubicBezTo>
                <a:cubicBezTo>
                  <a:pt x="215" y="16"/>
                  <a:pt x="231" y="12"/>
                  <a:pt x="249" y="9"/>
                </a:cubicBezTo>
                <a:cubicBezTo>
                  <a:pt x="259" y="6"/>
                  <a:pt x="271" y="5"/>
                  <a:pt x="281" y="3"/>
                </a:cubicBezTo>
                <a:cubicBezTo>
                  <a:pt x="284" y="3"/>
                  <a:pt x="287" y="2"/>
                  <a:pt x="290" y="2"/>
                </a:cubicBezTo>
                <a:cubicBezTo>
                  <a:pt x="293" y="2"/>
                  <a:pt x="295" y="2"/>
                  <a:pt x="297" y="1"/>
                </a:cubicBezTo>
                <a:cubicBezTo>
                  <a:pt x="304" y="1"/>
                  <a:pt x="304" y="1"/>
                  <a:pt x="304" y="1"/>
                </a:cubicBezTo>
                <a:cubicBezTo>
                  <a:pt x="307" y="1"/>
                  <a:pt x="311" y="0"/>
                  <a:pt x="314" y="0"/>
                </a:cubicBezTo>
                <a:cubicBezTo>
                  <a:pt x="318" y="0"/>
                  <a:pt x="321" y="0"/>
                  <a:pt x="324" y="0"/>
                </a:cubicBezTo>
                <a:cubicBezTo>
                  <a:pt x="327" y="0"/>
                  <a:pt x="331" y="0"/>
                  <a:pt x="334" y="0"/>
                </a:cubicBezTo>
                <a:cubicBezTo>
                  <a:pt x="343" y="0"/>
                  <a:pt x="351" y="0"/>
                  <a:pt x="361" y="1"/>
                </a:cubicBezTo>
                <a:cubicBezTo>
                  <a:pt x="368" y="2"/>
                  <a:pt x="376" y="2"/>
                  <a:pt x="384" y="4"/>
                </a:cubicBezTo>
                <a:cubicBezTo>
                  <a:pt x="389" y="4"/>
                  <a:pt x="394" y="5"/>
                  <a:pt x="398" y="6"/>
                </a:cubicBezTo>
                <a:cubicBezTo>
                  <a:pt x="400" y="7"/>
                  <a:pt x="403" y="8"/>
                  <a:pt x="405" y="8"/>
                </a:cubicBezTo>
                <a:cubicBezTo>
                  <a:pt x="408" y="9"/>
                  <a:pt x="410" y="10"/>
                  <a:pt x="413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6" y="11"/>
                  <a:pt x="416" y="11"/>
                  <a:pt x="416" y="12"/>
                </a:cubicBezTo>
                <a:cubicBezTo>
                  <a:pt x="417" y="12"/>
                  <a:pt x="419" y="13"/>
                  <a:pt x="420" y="12"/>
                </a:cubicBezTo>
                <a:cubicBezTo>
                  <a:pt x="420" y="12"/>
                  <a:pt x="420" y="12"/>
                  <a:pt x="420" y="12"/>
                </a:cubicBezTo>
                <a:cubicBezTo>
                  <a:pt x="421" y="12"/>
                  <a:pt x="421" y="12"/>
                  <a:pt x="421" y="12"/>
                </a:cubicBezTo>
                <a:cubicBezTo>
                  <a:pt x="421" y="13"/>
                  <a:pt x="422" y="13"/>
                  <a:pt x="423" y="13"/>
                </a:cubicBezTo>
                <a:cubicBezTo>
                  <a:pt x="423" y="13"/>
                  <a:pt x="423" y="13"/>
                  <a:pt x="423" y="13"/>
                </a:cubicBezTo>
                <a:cubicBezTo>
                  <a:pt x="424" y="13"/>
                  <a:pt x="424" y="14"/>
                  <a:pt x="424" y="14"/>
                </a:cubicBezTo>
                <a:cubicBezTo>
                  <a:pt x="425" y="14"/>
                  <a:pt x="425" y="14"/>
                  <a:pt x="425" y="14"/>
                </a:cubicBezTo>
                <a:cubicBezTo>
                  <a:pt x="426" y="14"/>
                  <a:pt x="426" y="14"/>
                  <a:pt x="426" y="15"/>
                </a:cubicBezTo>
                <a:cubicBezTo>
                  <a:pt x="426" y="15"/>
                  <a:pt x="426" y="15"/>
                  <a:pt x="426" y="15"/>
                </a:cubicBezTo>
                <a:cubicBezTo>
                  <a:pt x="426" y="15"/>
                  <a:pt x="427" y="16"/>
                  <a:pt x="428" y="16"/>
                </a:cubicBezTo>
                <a:cubicBezTo>
                  <a:pt x="428" y="17"/>
                  <a:pt x="429" y="17"/>
                  <a:pt x="429" y="17"/>
                </a:cubicBezTo>
                <a:cubicBezTo>
                  <a:pt x="430" y="17"/>
                  <a:pt x="430" y="19"/>
                  <a:pt x="431" y="19"/>
                </a:cubicBezTo>
                <a:cubicBezTo>
                  <a:pt x="430" y="20"/>
                  <a:pt x="431" y="20"/>
                  <a:pt x="431" y="20"/>
                </a:cubicBezTo>
                <a:cubicBezTo>
                  <a:pt x="431" y="20"/>
                  <a:pt x="431" y="21"/>
                  <a:pt x="431" y="21"/>
                </a:cubicBezTo>
                <a:cubicBezTo>
                  <a:pt x="431" y="21"/>
                  <a:pt x="431" y="22"/>
                  <a:pt x="431" y="22"/>
                </a:cubicBezTo>
                <a:cubicBezTo>
                  <a:pt x="431" y="22"/>
                  <a:pt x="431" y="23"/>
                  <a:pt x="431" y="23"/>
                </a:cubicBezTo>
                <a:cubicBezTo>
                  <a:pt x="431" y="23"/>
                  <a:pt x="432" y="24"/>
                  <a:pt x="432" y="24"/>
                </a:cubicBezTo>
                <a:cubicBezTo>
                  <a:pt x="432" y="25"/>
                  <a:pt x="431" y="25"/>
                  <a:pt x="431" y="26"/>
                </a:cubicBezTo>
                <a:cubicBezTo>
                  <a:pt x="431" y="27"/>
                  <a:pt x="430" y="28"/>
                  <a:pt x="430" y="29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29" y="29"/>
                  <a:pt x="429" y="30"/>
                  <a:pt x="428" y="30"/>
                </a:cubicBezTo>
                <a:cubicBezTo>
                  <a:pt x="428" y="30"/>
                  <a:pt x="428" y="30"/>
                  <a:pt x="428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26" y="31"/>
                  <a:pt x="424" y="32"/>
                  <a:pt x="423" y="32"/>
                </a:cubicBezTo>
                <a:cubicBezTo>
                  <a:pt x="423" y="32"/>
                  <a:pt x="423" y="32"/>
                  <a:pt x="423" y="32"/>
                </a:cubicBezTo>
                <a:cubicBezTo>
                  <a:pt x="422" y="32"/>
                  <a:pt x="422" y="32"/>
                  <a:pt x="421" y="32"/>
                </a:cubicBezTo>
                <a:cubicBezTo>
                  <a:pt x="421" y="33"/>
                  <a:pt x="420" y="32"/>
                  <a:pt x="420" y="32"/>
                </a:cubicBezTo>
                <a:cubicBezTo>
                  <a:pt x="420" y="32"/>
                  <a:pt x="419" y="32"/>
                  <a:pt x="419" y="32"/>
                </a:cubicBezTo>
                <a:cubicBezTo>
                  <a:pt x="419" y="32"/>
                  <a:pt x="418" y="32"/>
                  <a:pt x="418" y="32"/>
                </a:cubicBezTo>
                <a:cubicBezTo>
                  <a:pt x="417" y="32"/>
                  <a:pt x="417" y="31"/>
                  <a:pt x="416" y="31"/>
                </a:cubicBezTo>
                <a:cubicBezTo>
                  <a:pt x="416" y="31"/>
                  <a:pt x="416" y="31"/>
                  <a:pt x="416" y="31"/>
                </a:cubicBezTo>
                <a:cubicBezTo>
                  <a:pt x="415" y="31"/>
                  <a:pt x="415" y="30"/>
                  <a:pt x="415" y="30"/>
                </a:cubicBezTo>
                <a:cubicBezTo>
                  <a:pt x="415" y="30"/>
                  <a:pt x="415" y="30"/>
                  <a:pt x="414" y="30"/>
                </a:cubicBezTo>
                <a:cubicBezTo>
                  <a:pt x="414" y="29"/>
                  <a:pt x="415" y="29"/>
                  <a:pt x="414" y="29"/>
                </a:cubicBezTo>
                <a:cubicBezTo>
                  <a:pt x="414" y="28"/>
                  <a:pt x="413" y="30"/>
                  <a:pt x="413" y="29"/>
                </a:cubicBezTo>
                <a:cubicBezTo>
                  <a:pt x="413" y="28"/>
                  <a:pt x="412" y="28"/>
                  <a:pt x="411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08" y="26"/>
                  <a:pt x="408" y="26"/>
                  <a:pt x="408" y="26"/>
                </a:cubicBezTo>
                <a:cubicBezTo>
                  <a:pt x="407" y="26"/>
                  <a:pt x="407" y="26"/>
                  <a:pt x="407" y="26"/>
                </a:cubicBezTo>
                <a:cubicBezTo>
                  <a:pt x="399" y="23"/>
                  <a:pt x="390" y="21"/>
                  <a:pt x="383" y="20"/>
                </a:cubicBezTo>
                <a:cubicBezTo>
                  <a:pt x="376" y="19"/>
                  <a:pt x="370" y="18"/>
                  <a:pt x="363" y="17"/>
                </a:cubicBezTo>
                <a:cubicBezTo>
                  <a:pt x="342" y="15"/>
                  <a:pt x="321" y="16"/>
                  <a:pt x="300" y="17"/>
                </a:cubicBezTo>
                <a:cubicBezTo>
                  <a:pt x="288" y="18"/>
                  <a:pt x="273" y="20"/>
                  <a:pt x="262" y="22"/>
                </a:cubicBezTo>
                <a:cubicBezTo>
                  <a:pt x="249" y="24"/>
                  <a:pt x="236" y="27"/>
                  <a:pt x="224" y="30"/>
                </a:cubicBezTo>
                <a:cubicBezTo>
                  <a:pt x="217" y="32"/>
                  <a:pt x="210" y="34"/>
                  <a:pt x="203" y="36"/>
                </a:cubicBezTo>
                <a:cubicBezTo>
                  <a:pt x="196" y="38"/>
                  <a:pt x="196" y="38"/>
                  <a:pt x="196" y="38"/>
                </a:cubicBezTo>
                <a:cubicBezTo>
                  <a:pt x="190" y="41"/>
                  <a:pt x="183" y="43"/>
                  <a:pt x="176" y="46"/>
                </a:cubicBezTo>
                <a:cubicBezTo>
                  <a:pt x="170" y="49"/>
                  <a:pt x="164" y="51"/>
                  <a:pt x="157" y="54"/>
                </a:cubicBezTo>
                <a:cubicBezTo>
                  <a:pt x="148" y="58"/>
                  <a:pt x="138" y="64"/>
                  <a:pt x="127" y="70"/>
                </a:cubicBezTo>
                <a:cubicBezTo>
                  <a:pt x="117" y="77"/>
                  <a:pt x="106" y="84"/>
                  <a:pt x="96" y="92"/>
                </a:cubicBezTo>
                <a:cubicBezTo>
                  <a:pt x="93" y="94"/>
                  <a:pt x="93" y="94"/>
                  <a:pt x="93" y="94"/>
                </a:cubicBezTo>
                <a:cubicBezTo>
                  <a:pt x="80" y="104"/>
                  <a:pt x="69" y="115"/>
                  <a:pt x="59" y="125"/>
                </a:cubicBezTo>
                <a:cubicBezTo>
                  <a:pt x="47" y="138"/>
                  <a:pt x="34" y="155"/>
                  <a:pt x="26" y="171"/>
                </a:cubicBezTo>
                <a:cubicBezTo>
                  <a:pt x="19" y="186"/>
                  <a:pt x="14" y="201"/>
                  <a:pt x="14" y="217"/>
                </a:cubicBezTo>
                <a:cubicBezTo>
                  <a:pt x="15" y="222"/>
                  <a:pt x="15" y="229"/>
                  <a:pt x="17" y="234"/>
                </a:cubicBezTo>
                <a:cubicBezTo>
                  <a:pt x="19" y="239"/>
                  <a:pt x="22" y="244"/>
                  <a:pt x="26" y="249"/>
                </a:cubicBezTo>
                <a:cubicBezTo>
                  <a:pt x="28" y="252"/>
                  <a:pt x="31" y="255"/>
                  <a:pt x="35" y="258"/>
                </a:cubicBezTo>
                <a:cubicBezTo>
                  <a:pt x="40" y="261"/>
                  <a:pt x="45" y="264"/>
                  <a:pt x="51" y="267"/>
                </a:cubicBezTo>
                <a:cubicBezTo>
                  <a:pt x="61" y="272"/>
                  <a:pt x="72" y="276"/>
                  <a:pt x="84" y="279"/>
                </a:cubicBezTo>
                <a:cubicBezTo>
                  <a:pt x="95" y="282"/>
                  <a:pt x="106" y="284"/>
                  <a:pt x="117" y="285"/>
                </a:cubicBezTo>
                <a:cubicBezTo>
                  <a:pt x="121" y="286"/>
                  <a:pt x="125" y="286"/>
                  <a:pt x="129" y="287"/>
                </a:cubicBezTo>
                <a:cubicBezTo>
                  <a:pt x="131" y="287"/>
                  <a:pt x="134" y="287"/>
                  <a:pt x="137" y="287"/>
                </a:cubicBezTo>
                <a:cubicBezTo>
                  <a:pt x="150" y="289"/>
                  <a:pt x="168" y="290"/>
                  <a:pt x="184" y="291"/>
                </a:cubicBezTo>
                <a:cubicBezTo>
                  <a:pt x="206" y="291"/>
                  <a:pt x="227" y="291"/>
                  <a:pt x="251" y="289"/>
                </a:cubicBezTo>
                <a:cubicBezTo>
                  <a:pt x="268" y="287"/>
                  <a:pt x="287" y="285"/>
                  <a:pt x="306" y="281"/>
                </a:cubicBezTo>
                <a:cubicBezTo>
                  <a:pt x="331" y="276"/>
                  <a:pt x="357" y="268"/>
                  <a:pt x="381" y="259"/>
                </a:cubicBezTo>
                <a:cubicBezTo>
                  <a:pt x="395" y="254"/>
                  <a:pt x="407" y="248"/>
                  <a:pt x="419" y="241"/>
                </a:cubicBezTo>
                <a:cubicBezTo>
                  <a:pt x="430" y="233"/>
                  <a:pt x="440" y="224"/>
                  <a:pt x="449" y="215"/>
                </a:cubicBezTo>
                <a:cubicBezTo>
                  <a:pt x="450" y="214"/>
                  <a:pt x="451" y="213"/>
                  <a:pt x="453" y="211"/>
                </a:cubicBezTo>
                <a:cubicBezTo>
                  <a:pt x="455" y="209"/>
                  <a:pt x="454" y="210"/>
                  <a:pt x="456" y="207"/>
                </a:cubicBezTo>
                <a:cubicBezTo>
                  <a:pt x="458" y="205"/>
                  <a:pt x="457" y="207"/>
                  <a:pt x="458" y="205"/>
                </a:cubicBezTo>
                <a:cubicBezTo>
                  <a:pt x="464" y="198"/>
                  <a:pt x="464" y="198"/>
                  <a:pt x="464" y="198"/>
                </a:cubicBezTo>
                <a:cubicBezTo>
                  <a:pt x="465" y="197"/>
                  <a:pt x="466" y="196"/>
                  <a:pt x="467" y="195"/>
                </a:cubicBezTo>
                <a:cubicBezTo>
                  <a:pt x="467" y="194"/>
                  <a:pt x="468" y="193"/>
                  <a:pt x="469" y="192"/>
                </a:cubicBezTo>
                <a:cubicBezTo>
                  <a:pt x="472" y="187"/>
                  <a:pt x="475" y="182"/>
                  <a:pt x="477" y="177"/>
                </a:cubicBezTo>
                <a:cubicBezTo>
                  <a:pt x="482" y="167"/>
                  <a:pt x="486" y="156"/>
                  <a:pt x="487" y="146"/>
                </a:cubicBezTo>
                <a:cubicBezTo>
                  <a:pt x="487" y="143"/>
                  <a:pt x="487" y="146"/>
                  <a:pt x="488" y="144"/>
                </a:cubicBezTo>
                <a:cubicBezTo>
                  <a:pt x="488" y="142"/>
                  <a:pt x="488" y="141"/>
                  <a:pt x="487" y="139"/>
                </a:cubicBezTo>
                <a:cubicBezTo>
                  <a:pt x="487" y="137"/>
                  <a:pt x="487" y="136"/>
                  <a:pt x="487" y="134"/>
                </a:cubicBezTo>
                <a:cubicBezTo>
                  <a:pt x="487" y="130"/>
                  <a:pt x="486" y="126"/>
                  <a:pt x="485" y="123"/>
                </a:cubicBezTo>
                <a:cubicBezTo>
                  <a:pt x="483" y="115"/>
                  <a:pt x="480" y="108"/>
                  <a:pt x="475" y="103"/>
                </a:cubicBezTo>
                <a:cubicBezTo>
                  <a:pt x="472" y="98"/>
                  <a:pt x="467" y="94"/>
                  <a:pt x="462" y="91"/>
                </a:cubicBezTo>
                <a:cubicBezTo>
                  <a:pt x="460" y="90"/>
                  <a:pt x="461" y="90"/>
                  <a:pt x="460" y="90"/>
                </a:cubicBezTo>
                <a:cubicBezTo>
                  <a:pt x="458" y="89"/>
                  <a:pt x="459" y="89"/>
                  <a:pt x="458" y="88"/>
                </a:cubicBezTo>
                <a:cubicBezTo>
                  <a:pt x="456" y="87"/>
                  <a:pt x="456" y="87"/>
                  <a:pt x="456" y="87"/>
                </a:cubicBezTo>
                <a:cubicBezTo>
                  <a:pt x="453" y="86"/>
                  <a:pt x="453" y="86"/>
                  <a:pt x="453" y="86"/>
                </a:cubicBezTo>
                <a:cubicBezTo>
                  <a:pt x="439" y="78"/>
                  <a:pt x="424" y="72"/>
                  <a:pt x="409" y="67"/>
                </a:cubicBezTo>
                <a:cubicBezTo>
                  <a:pt x="406" y="66"/>
                  <a:pt x="406" y="66"/>
                  <a:pt x="402" y="64"/>
                </a:cubicBezTo>
                <a:cubicBezTo>
                  <a:pt x="398" y="63"/>
                  <a:pt x="399" y="63"/>
                  <a:pt x="396" y="63"/>
                </a:cubicBezTo>
                <a:cubicBezTo>
                  <a:pt x="395" y="63"/>
                  <a:pt x="392" y="61"/>
                  <a:pt x="391" y="61"/>
                </a:cubicBezTo>
                <a:cubicBezTo>
                  <a:pt x="390" y="61"/>
                  <a:pt x="391" y="61"/>
                  <a:pt x="391" y="61"/>
                </a:cubicBezTo>
                <a:cubicBezTo>
                  <a:pt x="388" y="60"/>
                  <a:pt x="378" y="58"/>
                  <a:pt x="373" y="57"/>
                </a:cubicBezTo>
                <a:cubicBezTo>
                  <a:pt x="366" y="56"/>
                  <a:pt x="358" y="54"/>
                  <a:pt x="350" y="53"/>
                </a:cubicBezTo>
                <a:cubicBezTo>
                  <a:pt x="358" y="54"/>
                  <a:pt x="365" y="55"/>
                  <a:pt x="367" y="55"/>
                </a:cubicBezTo>
                <a:cubicBezTo>
                  <a:pt x="359" y="53"/>
                  <a:pt x="344" y="52"/>
                  <a:pt x="336" y="51"/>
                </a:cubicBezTo>
                <a:cubicBezTo>
                  <a:pt x="318" y="50"/>
                  <a:pt x="294" y="52"/>
                  <a:pt x="273" y="56"/>
                </a:cubicBezTo>
                <a:cubicBezTo>
                  <a:pt x="272" y="56"/>
                  <a:pt x="271" y="56"/>
                  <a:pt x="271" y="56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4" y="58"/>
                  <a:pt x="263" y="58"/>
                  <a:pt x="262" y="58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7" y="57"/>
                  <a:pt x="267" y="57"/>
                  <a:pt x="267" y="57"/>
                </a:cubicBezTo>
                <a:cubicBezTo>
                  <a:pt x="288" y="53"/>
                  <a:pt x="309" y="50"/>
                  <a:pt x="330" y="51"/>
                </a:cubicBezTo>
                <a:cubicBezTo>
                  <a:pt x="335" y="51"/>
                  <a:pt x="343" y="51"/>
                  <a:pt x="352" y="52"/>
                </a:cubicBezTo>
                <a:cubicBezTo>
                  <a:pt x="362" y="53"/>
                  <a:pt x="371" y="55"/>
                  <a:pt x="378" y="57"/>
                </a:cubicBezTo>
                <a:cubicBezTo>
                  <a:pt x="387" y="58"/>
                  <a:pt x="391" y="59"/>
                  <a:pt x="387" y="58"/>
                </a:cubicBezTo>
                <a:cubicBezTo>
                  <a:pt x="376" y="55"/>
                  <a:pt x="367" y="53"/>
                  <a:pt x="356" y="52"/>
                </a:cubicBezTo>
                <a:cubicBezTo>
                  <a:pt x="354" y="51"/>
                  <a:pt x="352" y="51"/>
                  <a:pt x="355" y="51"/>
                </a:cubicBezTo>
                <a:cubicBezTo>
                  <a:pt x="377" y="53"/>
                  <a:pt x="401" y="60"/>
                  <a:pt x="418" y="66"/>
                </a:cubicBezTo>
                <a:cubicBezTo>
                  <a:pt x="428" y="70"/>
                  <a:pt x="428" y="70"/>
                  <a:pt x="428" y="70"/>
                </a:cubicBezTo>
                <a:cubicBezTo>
                  <a:pt x="430" y="70"/>
                  <a:pt x="431" y="71"/>
                  <a:pt x="432" y="71"/>
                </a:cubicBezTo>
                <a:cubicBezTo>
                  <a:pt x="432" y="71"/>
                  <a:pt x="430" y="70"/>
                  <a:pt x="430" y="70"/>
                </a:cubicBezTo>
                <a:cubicBezTo>
                  <a:pt x="411" y="62"/>
                  <a:pt x="395" y="56"/>
                  <a:pt x="374" y="52"/>
                </a:cubicBezTo>
                <a:cubicBezTo>
                  <a:pt x="371" y="51"/>
                  <a:pt x="368" y="51"/>
                  <a:pt x="365" y="50"/>
                </a:cubicBezTo>
                <a:cubicBezTo>
                  <a:pt x="358" y="49"/>
                  <a:pt x="347" y="48"/>
                  <a:pt x="338" y="47"/>
                </a:cubicBezTo>
                <a:cubicBezTo>
                  <a:pt x="336" y="47"/>
                  <a:pt x="337" y="47"/>
                  <a:pt x="336" y="47"/>
                </a:cubicBezTo>
                <a:cubicBezTo>
                  <a:pt x="315" y="46"/>
                  <a:pt x="296" y="48"/>
                  <a:pt x="277" y="51"/>
                </a:cubicBezTo>
                <a:cubicBezTo>
                  <a:pt x="293" y="48"/>
                  <a:pt x="310" y="47"/>
                  <a:pt x="325" y="47"/>
                </a:cubicBezTo>
                <a:cubicBezTo>
                  <a:pt x="327" y="47"/>
                  <a:pt x="328" y="46"/>
                  <a:pt x="330" y="46"/>
                </a:cubicBezTo>
                <a:cubicBezTo>
                  <a:pt x="343" y="47"/>
                  <a:pt x="363" y="49"/>
                  <a:pt x="379" y="52"/>
                </a:cubicBezTo>
                <a:cubicBezTo>
                  <a:pt x="381" y="52"/>
                  <a:pt x="382" y="52"/>
                  <a:pt x="375" y="51"/>
                </a:cubicBezTo>
                <a:cubicBezTo>
                  <a:pt x="377" y="51"/>
                  <a:pt x="378" y="51"/>
                  <a:pt x="381" y="52"/>
                </a:cubicBezTo>
                <a:cubicBezTo>
                  <a:pt x="381" y="52"/>
                  <a:pt x="380" y="52"/>
                  <a:pt x="379" y="52"/>
                </a:cubicBezTo>
                <a:cubicBezTo>
                  <a:pt x="388" y="53"/>
                  <a:pt x="389" y="54"/>
                  <a:pt x="398" y="56"/>
                </a:cubicBezTo>
                <a:cubicBezTo>
                  <a:pt x="399" y="56"/>
                  <a:pt x="400" y="56"/>
                  <a:pt x="399" y="56"/>
                </a:cubicBezTo>
                <a:cubicBezTo>
                  <a:pt x="392" y="54"/>
                  <a:pt x="385" y="52"/>
                  <a:pt x="379" y="51"/>
                </a:cubicBezTo>
                <a:cubicBezTo>
                  <a:pt x="375" y="50"/>
                  <a:pt x="372" y="50"/>
                  <a:pt x="369" y="49"/>
                </a:cubicBezTo>
                <a:cubicBezTo>
                  <a:pt x="367" y="49"/>
                  <a:pt x="367" y="49"/>
                  <a:pt x="365" y="48"/>
                </a:cubicBezTo>
                <a:cubicBezTo>
                  <a:pt x="363" y="48"/>
                  <a:pt x="360" y="48"/>
                  <a:pt x="358" y="48"/>
                </a:cubicBezTo>
                <a:cubicBezTo>
                  <a:pt x="353" y="47"/>
                  <a:pt x="353" y="47"/>
                  <a:pt x="353" y="47"/>
                </a:cubicBezTo>
                <a:cubicBezTo>
                  <a:pt x="345" y="46"/>
                  <a:pt x="336" y="46"/>
                  <a:pt x="327" y="45"/>
                </a:cubicBezTo>
                <a:cubicBezTo>
                  <a:pt x="321" y="45"/>
                  <a:pt x="314" y="45"/>
                  <a:pt x="307" y="46"/>
                </a:cubicBezTo>
                <a:cubicBezTo>
                  <a:pt x="310" y="45"/>
                  <a:pt x="315" y="45"/>
                  <a:pt x="320" y="45"/>
                </a:cubicBezTo>
                <a:cubicBezTo>
                  <a:pt x="337" y="45"/>
                  <a:pt x="357" y="46"/>
                  <a:pt x="371" y="49"/>
                </a:cubicBezTo>
                <a:cubicBezTo>
                  <a:pt x="372" y="49"/>
                  <a:pt x="369" y="48"/>
                  <a:pt x="368" y="48"/>
                </a:cubicBezTo>
                <a:cubicBezTo>
                  <a:pt x="363" y="47"/>
                  <a:pt x="360" y="47"/>
                  <a:pt x="356" y="46"/>
                </a:cubicBezTo>
                <a:cubicBezTo>
                  <a:pt x="354" y="46"/>
                  <a:pt x="357" y="46"/>
                  <a:pt x="355" y="46"/>
                </a:cubicBezTo>
                <a:cubicBezTo>
                  <a:pt x="345" y="45"/>
                  <a:pt x="335" y="45"/>
                  <a:pt x="323" y="45"/>
                </a:cubicBezTo>
                <a:cubicBezTo>
                  <a:pt x="322" y="44"/>
                  <a:pt x="319" y="44"/>
                  <a:pt x="321" y="44"/>
                </a:cubicBezTo>
                <a:cubicBezTo>
                  <a:pt x="319" y="44"/>
                  <a:pt x="319" y="44"/>
                  <a:pt x="317" y="44"/>
                </a:cubicBezTo>
                <a:cubicBezTo>
                  <a:pt x="314" y="44"/>
                  <a:pt x="318" y="44"/>
                  <a:pt x="317" y="44"/>
                </a:cubicBezTo>
                <a:cubicBezTo>
                  <a:pt x="314" y="44"/>
                  <a:pt x="310" y="45"/>
                  <a:pt x="308" y="45"/>
                </a:cubicBezTo>
                <a:cubicBezTo>
                  <a:pt x="294" y="46"/>
                  <a:pt x="282" y="47"/>
                  <a:pt x="266" y="50"/>
                </a:cubicBezTo>
                <a:cubicBezTo>
                  <a:pt x="276" y="48"/>
                  <a:pt x="290" y="46"/>
                  <a:pt x="305" y="45"/>
                </a:cubicBezTo>
                <a:cubicBezTo>
                  <a:pt x="308" y="44"/>
                  <a:pt x="304" y="45"/>
                  <a:pt x="307" y="44"/>
                </a:cubicBezTo>
                <a:cubicBezTo>
                  <a:pt x="311" y="44"/>
                  <a:pt x="314" y="44"/>
                  <a:pt x="318" y="44"/>
                </a:cubicBezTo>
                <a:cubicBezTo>
                  <a:pt x="328" y="44"/>
                  <a:pt x="328" y="44"/>
                  <a:pt x="328" y="44"/>
                </a:cubicBezTo>
                <a:cubicBezTo>
                  <a:pt x="333" y="44"/>
                  <a:pt x="338" y="44"/>
                  <a:pt x="343" y="44"/>
                </a:cubicBezTo>
                <a:cubicBezTo>
                  <a:pt x="348" y="45"/>
                  <a:pt x="351" y="45"/>
                  <a:pt x="356" y="45"/>
                </a:cubicBezTo>
                <a:cubicBezTo>
                  <a:pt x="358" y="46"/>
                  <a:pt x="358" y="45"/>
                  <a:pt x="361" y="46"/>
                </a:cubicBezTo>
                <a:cubicBezTo>
                  <a:pt x="362" y="46"/>
                  <a:pt x="357" y="45"/>
                  <a:pt x="360" y="45"/>
                </a:cubicBezTo>
                <a:cubicBezTo>
                  <a:pt x="363" y="46"/>
                  <a:pt x="360" y="45"/>
                  <a:pt x="362" y="46"/>
                </a:cubicBezTo>
                <a:cubicBezTo>
                  <a:pt x="365" y="46"/>
                  <a:pt x="366" y="46"/>
                  <a:pt x="368" y="46"/>
                </a:cubicBezTo>
                <a:cubicBezTo>
                  <a:pt x="375" y="48"/>
                  <a:pt x="382" y="49"/>
                  <a:pt x="389" y="51"/>
                </a:cubicBezTo>
                <a:cubicBezTo>
                  <a:pt x="391" y="51"/>
                  <a:pt x="386" y="50"/>
                  <a:pt x="388" y="50"/>
                </a:cubicBezTo>
                <a:cubicBezTo>
                  <a:pt x="391" y="51"/>
                  <a:pt x="401" y="54"/>
                  <a:pt x="403" y="54"/>
                </a:cubicBezTo>
                <a:cubicBezTo>
                  <a:pt x="411" y="57"/>
                  <a:pt x="415" y="58"/>
                  <a:pt x="424" y="61"/>
                </a:cubicBezTo>
                <a:cubicBezTo>
                  <a:pt x="427" y="63"/>
                  <a:pt x="424" y="61"/>
                  <a:pt x="426" y="62"/>
                </a:cubicBezTo>
                <a:cubicBezTo>
                  <a:pt x="431" y="64"/>
                  <a:pt x="434" y="65"/>
                  <a:pt x="440" y="68"/>
                </a:cubicBezTo>
                <a:cubicBezTo>
                  <a:pt x="444" y="69"/>
                  <a:pt x="450" y="72"/>
                  <a:pt x="455" y="75"/>
                </a:cubicBezTo>
                <a:cubicBezTo>
                  <a:pt x="455" y="74"/>
                  <a:pt x="452" y="73"/>
                  <a:pt x="449" y="71"/>
                </a:cubicBezTo>
                <a:cubicBezTo>
                  <a:pt x="451" y="72"/>
                  <a:pt x="456" y="75"/>
                  <a:pt x="458" y="76"/>
                </a:cubicBezTo>
                <a:cubicBezTo>
                  <a:pt x="466" y="80"/>
                  <a:pt x="473" y="84"/>
                  <a:pt x="480" y="91"/>
                </a:cubicBezTo>
                <a:cubicBezTo>
                  <a:pt x="486" y="97"/>
                  <a:pt x="492" y="105"/>
                  <a:pt x="495" y="116"/>
                </a:cubicBezTo>
                <a:cubicBezTo>
                  <a:pt x="496" y="119"/>
                  <a:pt x="497" y="120"/>
                  <a:pt x="498" y="123"/>
                </a:cubicBezTo>
                <a:cubicBezTo>
                  <a:pt x="498" y="124"/>
                  <a:pt x="498" y="124"/>
                  <a:pt x="498" y="123"/>
                </a:cubicBezTo>
                <a:cubicBezTo>
                  <a:pt x="498" y="126"/>
                  <a:pt x="499" y="130"/>
                  <a:pt x="499" y="134"/>
                </a:cubicBezTo>
                <a:cubicBezTo>
                  <a:pt x="500" y="136"/>
                  <a:pt x="500" y="139"/>
                  <a:pt x="500" y="141"/>
                </a:cubicBezTo>
                <a:cubicBezTo>
                  <a:pt x="500" y="143"/>
                  <a:pt x="500" y="146"/>
                  <a:pt x="500" y="148"/>
                </a:cubicBezTo>
                <a:close/>
                <a:moveTo>
                  <a:pt x="385" y="50"/>
                </a:moveTo>
                <a:cubicBezTo>
                  <a:pt x="380" y="49"/>
                  <a:pt x="378" y="49"/>
                  <a:pt x="371" y="47"/>
                </a:cubicBezTo>
                <a:cubicBezTo>
                  <a:pt x="369" y="47"/>
                  <a:pt x="367" y="47"/>
                  <a:pt x="364" y="46"/>
                </a:cubicBezTo>
                <a:cubicBezTo>
                  <a:pt x="363" y="47"/>
                  <a:pt x="354" y="45"/>
                  <a:pt x="354" y="46"/>
                </a:cubicBezTo>
                <a:cubicBezTo>
                  <a:pt x="359" y="46"/>
                  <a:pt x="362" y="47"/>
                  <a:pt x="365" y="47"/>
                </a:cubicBezTo>
                <a:cubicBezTo>
                  <a:pt x="367" y="47"/>
                  <a:pt x="364" y="47"/>
                  <a:pt x="366" y="47"/>
                </a:cubicBezTo>
                <a:cubicBezTo>
                  <a:pt x="370" y="48"/>
                  <a:pt x="380" y="49"/>
                  <a:pt x="386" y="51"/>
                </a:cubicBezTo>
                <a:cubicBezTo>
                  <a:pt x="386" y="51"/>
                  <a:pt x="384" y="50"/>
                  <a:pt x="385" y="50"/>
                </a:cubicBezTo>
                <a:close/>
                <a:moveTo>
                  <a:pt x="387" y="51"/>
                </a:moveTo>
                <a:cubicBezTo>
                  <a:pt x="387" y="51"/>
                  <a:pt x="388" y="51"/>
                  <a:pt x="388" y="51"/>
                </a:cubicBezTo>
                <a:cubicBezTo>
                  <a:pt x="392" y="52"/>
                  <a:pt x="389" y="51"/>
                  <a:pt x="387" y="51"/>
                </a:cubicBezTo>
                <a:close/>
                <a:moveTo>
                  <a:pt x="391" y="61"/>
                </a:moveTo>
                <a:cubicBezTo>
                  <a:pt x="391" y="61"/>
                  <a:pt x="391" y="61"/>
                  <a:pt x="391" y="61"/>
                </a:cubicBezTo>
                <a:cubicBezTo>
                  <a:pt x="391" y="61"/>
                  <a:pt x="391" y="61"/>
                  <a:pt x="391" y="61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graphicFrame>
        <p:nvGraphicFramePr>
          <p:cNvPr id="605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02482454"/>
              </p:ext>
            </p:extLst>
          </p:nvPr>
        </p:nvGraphicFramePr>
        <p:xfrm>
          <a:off x="457219" y="5697502"/>
          <a:ext cx="8686800" cy="6400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8686800"/>
              </a:tblGrid>
              <a:tr h="254000">
                <a:tc>
                  <a:txBody>
                    <a:bodyPr/>
                    <a:lstStyle/>
                    <a:p>
                      <a:r>
                        <a:rPr kumimoji="0" lang="pt-BR" sz="1800" b="0" i="0" u="none" baseline="0" noProof="0" dirty="0" smtClean="0">
                          <a:solidFill>
                            <a:schemeClr val="tx2"/>
                          </a:solidFill>
                          <a:latin typeface="+mn-lt"/>
                          <a:cs typeface="+mn-lt"/>
                          <a:sym typeface="+mn-lt"/>
                        </a:rPr>
                        <a:t>Atualmente os empréstimos do BNDES representam cerca de 70% do crédito a empresas</a:t>
                      </a:r>
                      <a:endParaRPr kumimoji="0" lang="pt-BR" sz="1800" b="0" i="0" u="none" baseline="0" noProof="0" dirty="0">
                        <a:solidFill>
                          <a:schemeClr val="tx2"/>
                        </a:solidFill>
                        <a:latin typeface="+mn-lt"/>
                        <a:cs typeface="+mn-lt"/>
                        <a:sym typeface="+mn-lt"/>
                      </a:endParaRPr>
                    </a:p>
                  </a:txBody>
                  <a:tcPr anchor="b">
                    <a:lnT w="9525">
                      <a:solidFill>
                        <a:schemeClr val="accent4"/>
                      </a:solidFill>
                    </a:lnT>
                    <a:lnB w="9525" cap="flat" cmpd="sng" algn="ctr">
                      <a:solidFill>
                        <a:schemeClr val="accent4"/>
                      </a:solidFill>
                    </a:lnB>
                  </a:tcPr>
                </a:tc>
              </a:tr>
            </a:tbl>
          </a:graphicData>
        </a:graphic>
      </p:graphicFrame>
      <p:grpSp>
        <p:nvGrpSpPr>
          <p:cNvPr id="611" name="Group 610"/>
          <p:cNvGrpSpPr/>
          <p:nvPr/>
        </p:nvGrpSpPr>
        <p:grpSpPr>
          <a:xfrm>
            <a:off x="7048500" y="3067050"/>
            <a:ext cx="1408376" cy="427815"/>
            <a:chOff x="7534081" y="3265682"/>
            <a:chExt cx="1408376" cy="427815"/>
          </a:xfrm>
        </p:grpSpPr>
        <p:sp>
          <p:nvSpPr>
            <p:cNvPr id="607" name="Rectangle 606"/>
            <p:cNvSpPr/>
            <p:nvPr/>
          </p:nvSpPr>
          <p:spPr>
            <a:xfrm>
              <a:off x="7534081" y="3285931"/>
              <a:ext cx="182880" cy="137160"/>
            </a:xfrm>
            <a:prstGeom prst="rect">
              <a:avLst/>
            </a:prstGeom>
            <a:solidFill>
              <a:srgbClr val="ADC6D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08" name="Rectangle 607"/>
            <p:cNvSpPr/>
            <p:nvPr/>
          </p:nvSpPr>
          <p:spPr>
            <a:xfrm>
              <a:off x="7534081" y="3522081"/>
              <a:ext cx="182880" cy="13716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09" name="TextBox 608"/>
            <p:cNvSpPr txBox="1"/>
            <p:nvPr/>
          </p:nvSpPr>
          <p:spPr>
            <a:xfrm>
              <a:off x="7753737" y="3265682"/>
              <a:ext cx="1188720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t-BR" sz="1200" kern="0" dirty="0" smtClean="0"/>
                <a:t>Direcionado PJ</a:t>
              </a:r>
              <a:endParaRPr lang="en-GB" sz="1200" kern="0" dirty="0" err="1" smtClean="0"/>
            </a:p>
          </p:txBody>
        </p:sp>
        <p:sp>
          <p:nvSpPr>
            <p:cNvPr id="610" name="TextBox 609"/>
            <p:cNvSpPr txBox="1"/>
            <p:nvPr/>
          </p:nvSpPr>
          <p:spPr>
            <a:xfrm>
              <a:off x="7744406" y="3510617"/>
              <a:ext cx="1188720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t-BR" sz="1200" kern="0" dirty="0" smtClean="0"/>
                <a:t>Direcionado PF</a:t>
              </a:r>
              <a:endParaRPr lang="en-GB" sz="1200" kern="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xmlns="" val="3589077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9526767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8455" name="think-cell Slide" r:id="rId15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 empréstimos do BNDES têm alta representatividade no mercado de crédito para as empresas grandes</a:t>
            </a:r>
            <a:endParaRPr lang="pt-BR" dirty="0"/>
          </a:p>
        </p:txBody>
      </p:sp>
      <p:sp>
        <p:nvSpPr>
          <p:cNvPr id="582" name="TextBox 581"/>
          <p:cNvSpPr txBox="1"/>
          <p:nvPr/>
        </p:nvSpPr>
        <p:spPr>
          <a:xfrm>
            <a:off x="452438" y="1399032"/>
            <a:ext cx="45767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Financiamento das empresas</a:t>
            </a:r>
            <a:r>
              <a:rPr lang="pt-BR" sz="1200" b="1" kern="0" baseline="30000" dirty="0" smtClean="0">
                <a:solidFill>
                  <a:schemeClr val="accent1"/>
                </a:solidFill>
                <a:latin typeface="+mj-lt"/>
              </a:rPr>
              <a:t>1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Empréstimos diretos do BNDES, por porte, 2014</a:t>
            </a: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12997614"/>
              </p:ext>
            </p:extLst>
          </p:nvPr>
        </p:nvGraphicFramePr>
        <p:xfrm>
          <a:off x="381000" y="1943100"/>
          <a:ext cx="4472969" cy="2171664"/>
        </p:xfrm>
        <a:graphic>
          <a:graphicData uri="http://schemas.openxmlformats.org/presentationml/2006/ole">
            <p:oleObj spid="_x0000_s18456" name="Chart" r:id="rId16" imgW="4472969" imgH="2171664" progId="MSGraph.Chart.8">
              <p:embed followColorScheme="full"/>
            </p:oleObj>
          </a:graphicData>
        </a:graphic>
      </p:graphicFrame>
      <p:sp>
        <p:nvSpPr>
          <p:cNvPr id="42" name="BodyText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79450" y="4089400"/>
            <a:ext cx="476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3BD835-FAC9-44F9-97B8-26BD4C398546}" type="datetime'''T''''''o''''''t''''a''''l'''''''' ''''''P''''J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 PJ</a:t>
            </a:fld>
            <a:endParaRPr lang="en-GB" sz="1000" dirty="0" smtClean="0">
              <a:sym typeface="+mn-lt"/>
            </a:endParaRPr>
          </a:p>
        </p:txBody>
      </p:sp>
      <p:sp>
        <p:nvSpPr>
          <p:cNvPr id="44" name="BodyText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59025" y="4089400"/>
            <a:ext cx="515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C18F34-3A12-4C22-B8B8-FE1722A2F229}" type="datetime'''''''''''''''''''Pe''qu''''''''''''''e''''''n''''a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equena</a:t>
            </a:fld>
            <a:endParaRPr lang="en-GB" sz="1000" dirty="0" smtClean="0">
              <a:sym typeface="+mn-lt"/>
            </a:endParaRPr>
          </a:p>
        </p:txBody>
      </p:sp>
      <p:sp>
        <p:nvSpPr>
          <p:cNvPr id="43" name="BodyText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04963" y="4089400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DD5D05-A124-4A9D-A11B-AE7F6349945D}" type="datetime'''''M''i''''''''''''''c''r''''o''''''''''''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cro</a:t>
            </a:fld>
            <a:endParaRPr lang="en-GB" sz="1000" dirty="0" smtClean="0">
              <a:sym typeface="+mn-lt"/>
            </a:endParaRPr>
          </a:p>
        </p:txBody>
      </p:sp>
      <p:sp>
        <p:nvSpPr>
          <p:cNvPr id="52" name="BodyText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00513" y="4089400"/>
            <a:ext cx="4333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FA74C5-953F-4C5E-AB45-B18B963F4F48}" type="datetime'''G''''''r''''''a''''n''''''de''''''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rande</a:t>
            </a:fld>
            <a:endParaRPr lang="en-GB" sz="1000" dirty="0" smtClean="0">
              <a:sym typeface="+mn-lt"/>
            </a:endParaRPr>
          </a:p>
        </p:txBody>
      </p:sp>
      <p:sp>
        <p:nvSpPr>
          <p:cNvPr id="63" name="BodyText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447925" y="2014538"/>
            <a:ext cx="338138" cy="152400"/>
          </a:xfrm>
          <a:prstGeom prst="rect">
            <a:avLst/>
          </a:prstGeom>
          <a:solidFill>
            <a:srgbClr val="9DE0ED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E85C7-0B57-450A-B2C3-AF44FAED2CE3}" type="datetime'''''''''0.''''''''''''''''''''''''3%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en-GB" sz="1000" dirty="0" smtClean="0">
              <a:sym typeface="+mn-lt"/>
            </a:endParaRPr>
          </a:p>
        </p:txBody>
      </p:sp>
      <p:sp>
        <p:nvSpPr>
          <p:cNvPr id="51" name="BodyText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87713" y="4089400"/>
            <a:ext cx="35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AC5707-E3C0-46C7-BCF8-D02C30760662}" type="datetime'''Méd''i''''''''''''''a''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édia</a:t>
            </a:fld>
            <a:endParaRPr lang="en-GB" sz="1000" dirty="0" smtClean="0">
              <a:sym typeface="+mn-lt"/>
            </a:endParaRPr>
          </a:p>
        </p:txBody>
      </p:sp>
      <p:sp>
        <p:nvSpPr>
          <p:cNvPr id="64" name="BodyText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97238" y="2052638"/>
            <a:ext cx="338138" cy="152400"/>
          </a:xfrm>
          <a:prstGeom prst="rect">
            <a:avLst/>
          </a:prstGeom>
          <a:solidFill>
            <a:srgbClr val="9DE0ED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F3979-8E4D-4BB4-BF67-7E9A5EF2334E}" type="datetime'''''''''''''4''''''''''''''''''.''''''3%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3%</a:t>
            </a:fld>
            <a:endParaRPr lang="en-GB" sz="1000" dirty="0" smtClean="0"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10"/>
            </p:custDataLst>
          </p:nvPr>
        </p:nvSpPr>
        <p:spPr bwMode="auto">
          <a:xfrm>
            <a:off x="3149600" y="4375150"/>
            <a:ext cx="179387" cy="133350"/>
          </a:xfrm>
          <a:prstGeom prst="rect">
            <a:avLst/>
          </a:prstGeom>
          <a:solidFill>
            <a:srgbClr val="9DE0ED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auto">
          <a:xfrm>
            <a:off x="3917950" y="4375150"/>
            <a:ext cx="179387" cy="133350"/>
          </a:xfrm>
          <a:prstGeom prst="rect">
            <a:avLst/>
          </a:prstGeom>
          <a:solidFill>
            <a:srgbClr val="008AB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5" name="BodyText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9788" y="4371975"/>
            <a:ext cx="436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004FF3-0929-48F0-ACA9-4E094A6C2F9D}" type="datetime'''''''''''''B''''''''''''''''''''N''''''''D''E''''''''S'''">
              <a:rPr lang="en-GB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NDES</a:t>
            </a:fld>
            <a:endParaRPr lang="en-GB" sz="1000" dirty="0" smtClean="0">
              <a:sym typeface="+mn-lt"/>
            </a:endParaRPr>
          </a:p>
        </p:txBody>
      </p:sp>
      <p:sp>
        <p:nvSpPr>
          <p:cNvPr id="57" name="BodyText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48138" y="4371975"/>
            <a:ext cx="590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2469B9-A2B7-400E-A2DD-7AF25086BD29}" type="datetime'Out''ra''''s'''''''''' IF''''''''''''s'''''''''''''">
              <a:rPr lang="en-GB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as IFs</a:t>
            </a:fld>
            <a:endParaRPr lang="en-GB" sz="1000" dirty="0" smtClean="0">
              <a:sym typeface="+mn-lt"/>
            </a:endParaRPr>
          </a:p>
        </p:txBody>
      </p:sp>
      <p:sp>
        <p:nvSpPr>
          <p:cNvPr id="69" name="Footnote"/>
          <p:cNvSpPr/>
          <p:nvPr/>
        </p:nvSpPr>
        <p:spPr bwMode="gray">
          <a:xfrm>
            <a:off x="455613" y="6333252"/>
            <a:ext cx="868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98425" indent="-98425" algn="l">
              <a:lnSpc>
                <a:spcPct val="100000"/>
              </a:lnSpc>
            </a:pPr>
            <a:r>
              <a:rPr lang="en-US" sz="800" dirty="0" smtClean="0">
                <a:latin typeface="Arial"/>
                <a:sym typeface="Arial"/>
              </a:rPr>
              <a:t>1. Fonte: BCB - </a:t>
            </a:r>
            <a:r>
              <a:rPr lang="pt-BR" sz="800" dirty="0"/>
              <a:t>Dados Selecionados de Entidades Supervisionadas - </a:t>
            </a:r>
            <a:r>
              <a:rPr lang="pt-BR" sz="800" dirty="0" err="1" smtClean="0"/>
              <a:t>IF.data</a:t>
            </a:r>
            <a:r>
              <a:rPr lang="pt-BR" sz="800" dirty="0" smtClean="0"/>
              <a:t> (Por porte)</a:t>
            </a:r>
            <a:r>
              <a:rPr lang="en-US" sz="800" dirty="0" smtClean="0">
                <a:latin typeface="Arial"/>
                <a:sym typeface="Arial"/>
              </a:rPr>
              <a:t> </a:t>
            </a:r>
            <a:r>
              <a:rPr lang="en-US" sz="800" dirty="0" smtClean="0">
                <a:solidFill>
                  <a:schemeClr val="tx1"/>
                </a:solidFill>
                <a:latin typeface="Arial"/>
                <a:sym typeface="Arial"/>
              </a:rPr>
              <a:t> </a:t>
            </a:r>
            <a:endParaRPr lang="en-US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" name="Freeform 11"/>
          <p:cNvSpPr/>
          <p:nvPr/>
        </p:nvSpPr>
        <p:spPr>
          <a:xfrm rot="5400000">
            <a:off x="4246166" y="4689811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798276" y="5009314"/>
            <a:ext cx="2239347" cy="64008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000" kern="0" dirty="0" smtClean="0">
                <a:solidFill>
                  <a:schemeClr val="tx1"/>
                </a:solidFill>
              </a:rPr>
              <a:t>37% dos empréstimos a empresas grandes são concedidos pelo BNDES</a:t>
            </a:r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447491" y="1494410"/>
            <a:ext cx="3694922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endParaRPr lang="pt-BR" sz="1400" dirty="0" smtClean="0"/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400" dirty="0" smtClean="0"/>
              <a:t>69% dos empréstimos do BNDES concedidos entre 2012 e 2015 foram direcionados a empresas grandes</a:t>
            </a:r>
            <a:endParaRPr lang="pt-BR" sz="1400" dirty="0"/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400" dirty="0" smtClean="0"/>
              <a:t>O BNDES empresta a taxas de juros subsidiadas, para empresas que teriam acesso a crédito a taxas de mercado</a:t>
            </a:r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400" dirty="0" smtClean="0"/>
              <a:t>Não há nenhuma evidência de que esse subsídio tenha representado aumento nos investimentos que essas empresas fariam se tivessem se financiado a taxas de mercado</a:t>
            </a:r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400" dirty="0" smtClean="0"/>
              <a:t>Não há nenhuma evidência de que esses investimentos financiados pelo BNDES tiveram um retorno social que justificasse a destinação de recursos públicos subsididados</a:t>
            </a:r>
            <a:endParaRPr lang="pt-BR" sz="1400" kern="0" dirty="0"/>
          </a:p>
        </p:txBody>
      </p:sp>
      <p:sp>
        <p:nvSpPr>
          <p:cNvPr id="7" name="U-Turn Arrow 6"/>
          <p:cNvSpPr/>
          <p:nvPr/>
        </p:nvSpPr>
        <p:spPr>
          <a:xfrm>
            <a:off x="4317207" y="1262496"/>
            <a:ext cx="2782841" cy="642404"/>
          </a:xfrm>
          <a:prstGeom prst="uturnArrow">
            <a:avLst/>
          </a:prstGeom>
          <a:solidFill>
            <a:srgbClr val="FF00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014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0906705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2361" name="think-cell Slide" r:id="rId35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 outro lado: As taxas de juros cobradas em cada modalidade de crédito variam consideravelmente</a:t>
            </a:r>
            <a:endParaRPr lang="pt-BR" dirty="0"/>
          </a:p>
        </p:txBody>
      </p:sp>
      <p:sp>
        <p:nvSpPr>
          <p:cNvPr id="582" name="TextBox 581"/>
          <p:cNvSpPr txBox="1"/>
          <p:nvPr/>
        </p:nvSpPr>
        <p:spPr>
          <a:xfrm>
            <a:off x="452438" y="1232833"/>
            <a:ext cx="45767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Taxa de juros do crédito do sistema financeiro</a:t>
            </a:r>
            <a:r>
              <a:rPr lang="pt-BR" sz="1200" b="1" kern="0" baseline="30000" dirty="0" smtClean="0">
                <a:solidFill>
                  <a:schemeClr val="accent1"/>
                </a:solidFill>
                <a:latin typeface="+mj-lt"/>
              </a:rPr>
              <a:t>1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% ao ano</a:t>
            </a:r>
          </a:p>
        </p:txBody>
      </p:sp>
      <p:cxnSp>
        <p:nvCxnSpPr>
          <p:cNvPr id="229" name="Straight Connector 228"/>
          <p:cNvCxnSpPr/>
          <p:nvPr>
            <p:custDataLst>
              <p:tags r:id="rId3"/>
            </p:custDataLst>
          </p:nvPr>
        </p:nvCxnSpPr>
        <p:spPr bwMode="gray">
          <a:xfrm flipV="1">
            <a:off x="609600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gray">
          <a:xfrm flipV="1">
            <a:off x="3435350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gray">
          <a:xfrm flipV="1">
            <a:off x="1173163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>
            <p:custDataLst>
              <p:tags r:id="rId6"/>
            </p:custDataLst>
          </p:nvPr>
        </p:nvCxnSpPr>
        <p:spPr bwMode="gray">
          <a:xfrm flipV="1">
            <a:off x="2871788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gray">
          <a:xfrm flipV="1">
            <a:off x="2308225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>
            <p:custDataLst>
              <p:tags r:id="rId8"/>
            </p:custDataLst>
          </p:nvPr>
        </p:nvCxnSpPr>
        <p:spPr bwMode="gray">
          <a:xfrm flipV="1">
            <a:off x="1744663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>
            <p:custDataLst>
              <p:tags r:id="rId9"/>
            </p:custDataLst>
          </p:nvPr>
        </p:nvCxnSpPr>
        <p:spPr bwMode="gray">
          <a:xfrm flipV="1">
            <a:off x="4572000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>
            <p:custDataLst>
              <p:tags r:id="rId10"/>
            </p:custDataLst>
          </p:nvPr>
        </p:nvCxnSpPr>
        <p:spPr bwMode="gray">
          <a:xfrm flipV="1">
            <a:off x="4006850" y="4640263"/>
            <a:ext cx="0" cy="42862"/>
          </a:xfrm>
          <a:prstGeom prst="line">
            <a:avLst/>
          </a:prstGeom>
          <a:ln w="9525">
            <a:solidFill>
              <a:srgbClr val="606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42179933"/>
              </p:ext>
            </p:extLst>
          </p:nvPr>
        </p:nvGraphicFramePr>
        <p:xfrm>
          <a:off x="495301" y="1485900"/>
          <a:ext cx="4176025" cy="3253612"/>
        </p:xfrm>
        <a:graphic>
          <a:graphicData uri="http://schemas.openxmlformats.org/presentationml/2006/ole">
            <p:oleObj spid="_x0000_s12362" name="Chart" r:id="rId36" imgW="4176025" imgH="3253612" progId="MSGraph.Chart.8">
              <p:embed followColorScheme="full"/>
            </p:oleObj>
          </a:graphicData>
        </a:graphic>
      </p:graphicFrame>
      <p:sp>
        <p:nvSpPr>
          <p:cNvPr id="21" name="BodyText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168525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EBD51E-EDA0-492D-9723-D49CA425640A}" type="datetime'''''''''''''2''''''''0''''''''''''1''''''''''''4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GB" sz="1000" dirty="0" smtClean="0">
              <a:sym typeface="+mn-lt"/>
            </a:endParaRPr>
          </a:p>
        </p:txBody>
      </p:sp>
      <p:sp>
        <p:nvSpPr>
          <p:cNvPr id="20" name="BodyText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33463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E2D5E9-523A-406D-9BCC-B5712DCDD7C9}" type="datetime'''''2''''''0''''''''1''''''''''''2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GB" sz="1000" dirty="0" smtClean="0">
              <a:sym typeface="+mn-lt"/>
            </a:endParaRPr>
          </a:p>
        </p:txBody>
      </p:sp>
      <p:sp>
        <p:nvSpPr>
          <p:cNvPr id="46" name="BodyText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9900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0E94FD-B1C7-482B-9FBA-FF7AD8A971A9}" type="datetime'''''2''0''''1''''''''''''''''''''1''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GB" sz="1000" dirty="0" smtClean="0">
              <a:sym typeface="+mn-lt"/>
            </a:endParaRPr>
          </a:p>
        </p:txBody>
      </p:sp>
      <p:sp>
        <p:nvSpPr>
          <p:cNvPr id="48" name="BodyText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32088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E3E86A-095A-42D5-9FAB-6F6A45B83129}" type="datetime'''''''''''''''''''''2''''0''''''1''''''''''5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GB" sz="1000" dirty="0" smtClean="0">
              <a:sym typeface="+mn-lt"/>
            </a:endParaRPr>
          </a:p>
        </p:txBody>
      </p:sp>
      <p:sp>
        <p:nvSpPr>
          <p:cNvPr id="94" name="BodyText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432300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1C401E-9424-42F7-AAF8-985E3D924957}" type="datetime'''''''''''''2''''''''''''''''''0''''''1''''''8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GB" sz="1000" dirty="0" smtClean="0">
              <a:sym typeface="+mn-lt"/>
            </a:endParaRPr>
          </a:p>
        </p:txBody>
      </p:sp>
      <p:sp>
        <p:nvSpPr>
          <p:cNvPr id="47" name="BodyText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604963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C6B8A2-7757-4A9A-BD4A-7FC6AC166807}" type="datetime'''2''''''''''0''''''''''''1''''''''''''''3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GB" sz="1000" dirty="0" smtClean="0">
              <a:sym typeface="+mn-lt"/>
            </a:endParaRPr>
          </a:p>
        </p:txBody>
      </p:sp>
      <p:sp>
        <p:nvSpPr>
          <p:cNvPr id="22" name="BodyText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295650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0E7003-231D-4DC3-B41F-9C7954A34B74}" type="datetime'''''''''''''''''''''''20''''''16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GB" sz="1000" dirty="0" smtClean="0">
              <a:sym typeface="+mn-lt"/>
            </a:endParaRPr>
          </a:p>
        </p:txBody>
      </p:sp>
      <p:sp>
        <p:nvSpPr>
          <p:cNvPr id="49" name="BodyText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867150" y="47577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5C6C41-A649-4A7B-9F2C-5A67BD33BD05}" type="datetime'''''''''20''''''''''''''''''''''''1''''7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GB" sz="1000" dirty="0" smtClean="0">
              <a:sym typeface="+mn-lt"/>
            </a:endParaRPr>
          </a:p>
        </p:txBody>
      </p:sp>
      <p:sp>
        <p:nvSpPr>
          <p:cNvPr id="43" name="BodyText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244975" y="4152900"/>
            <a:ext cx="477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3878D6-B192-4603-B1BF-651B1F0958E0}" type="datetime'1''''''0.''2''''''5''''''''%'''''''''''''''''''''''''''''">
              <a:rPr lang="en-US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25%</a:t>
            </a:fld>
            <a:endParaRPr lang="en-US" sz="1000" dirty="0" smtClean="0">
              <a:sym typeface="+mn-lt"/>
            </a:endParaRPr>
          </a:p>
        </p:txBody>
      </p:sp>
      <p:sp>
        <p:nvSpPr>
          <p:cNvPr id="41" name="BodyText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243388" y="3973513"/>
            <a:ext cx="477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627E4E-95D3-4346-8F7D-E97B805B90C9}" type="datetime'''''''''1''1''''''''''''.''''0''''''''5%'''''''''">
              <a:rPr lang="en-US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05%</a:t>
            </a:fld>
            <a:endParaRPr lang="en-US" sz="1000" dirty="0" smtClean="0">
              <a:sym typeface="+mn-lt"/>
            </a:endParaRPr>
          </a:p>
        </p:txBody>
      </p:sp>
      <p:sp>
        <p:nvSpPr>
          <p:cNvPr id="39" name="BodyText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244975" y="1987550"/>
            <a:ext cx="477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A49877-5517-4E83-94E1-F6420210171C}" type="datetime'''''''''6''''''''''''''''''''3.8''0''''''''''''''%'''">
              <a:rPr lang="en-US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.80%</a:t>
            </a:fld>
            <a:endParaRPr lang="en-US" sz="1000" dirty="0" smtClean="0">
              <a:sym typeface="+mn-lt"/>
            </a:endParaRPr>
          </a:p>
        </p:txBody>
      </p:sp>
      <p:sp>
        <p:nvSpPr>
          <p:cNvPr id="40" name="BodyText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244975" y="2673350"/>
            <a:ext cx="477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756B4B-A236-4E0F-B00E-A9D17940C228}" type="datetime'4''''''''6.''''8''''''''''''''''''''''''''0''''''%'''''''''''">
              <a:rPr lang="en-US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80%</a:t>
            </a:fld>
            <a:endParaRPr lang="en-US" sz="1000" dirty="0" smtClean="0">
              <a:sym typeface="+mn-lt"/>
            </a:endParaRPr>
          </a:p>
        </p:txBody>
      </p:sp>
      <p:sp>
        <p:nvSpPr>
          <p:cNvPr id="38" name="BodyText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198938" y="3505200"/>
            <a:ext cx="477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E6D4E1-0285-4BCC-A9E3-B53F6B990C98}" type="datetime'''''''''''''''26''''.''2''''''''6''''%'''''''''''''''''''">
              <a:rPr lang="en-US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.26%</a:t>
            </a:fld>
            <a:endParaRPr lang="en-US" sz="1000" dirty="0" smtClean="0">
              <a:sym typeface="+mn-lt"/>
            </a:endParaRPr>
          </a:p>
        </p:txBody>
      </p:sp>
      <p:cxnSp>
        <p:nvCxnSpPr>
          <p:cNvPr id="227" name="Straight Connector 226"/>
          <p:cNvCxnSpPr/>
          <p:nvPr>
            <p:custDataLst>
              <p:tags r:id="rId24"/>
            </p:custDataLst>
          </p:nvPr>
        </p:nvCxnSpPr>
        <p:spPr bwMode="gray">
          <a:xfrm>
            <a:off x="1789113" y="5413375"/>
            <a:ext cx="219075" cy="0"/>
          </a:xfrm>
          <a:prstGeom prst="line">
            <a:avLst/>
          </a:prstGeom>
          <a:ln w="19050">
            <a:solidFill>
              <a:srgbClr val="CB225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5"/>
            </p:custDataLst>
          </p:nvPr>
        </p:nvCxnSpPr>
        <p:spPr bwMode="gray">
          <a:xfrm>
            <a:off x="1789113" y="5180013"/>
            <a:ext cx="219075" cy="0"/>
          </a:xfrm>
          <a:prstGeom prst="line">
            <a:avLst/>
          </a:prstGeom>
          <a:ln w="19050">
            <a:solidFill>
              <a:srgbClr val="008AB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26"/>
            </p:custDataLst>
          </p:nvPr>
        </p:nvCxnSpPr>
        <p:spPr bwMode="gray">
          <a:xfrm>
            <a:off x="539750" y="5646738"/>
            <a:ext cx="219075" cy="0"/>
          </a:xfrm>
          <a:prstGeom prst="line">
            <a:avLst/>
          </a:prstGeom>
          <a:ln w="19050">
            <a:solidFill>
              <a:srgbClr val="C0C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27"/>
            </p:custDataLst>
          </p:nvPr>
        </p:nvCxnSpPr>
        <p:spPr bwMode="gray">
          <a:xfrm>
            <a:off x="539750" y="5413375"/>
            <a:ext cx="219075" cy="0"/>
          </a:xfrm>
          <a:prstGeom prst="line">
            <a:avLst/>
          </a:prstGeom>
          <a:ln w="19050">
            <a:solidFill>
              <a:srgbClr val="80808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>
            <p:custDataLst>
              <p:tags r:id="rId28"/>
            </p:custDataLst>
          </p:nvPr>
        </p:nvCxnSpPr>
        <p:spPr bwMode="gray">
          <a:xfrm>
            <a:off x="539750" y="5180013"/>
            <a:ext cx="219075" cy="0"/>
          </a:xfrm>
          <a:prstGeom prst="line">
            <a:avLst/>
          </a:prstGeom>
          <a:ln w="19050">
            <a:solidFill>
              <a:srgbClr val="0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BodyText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09625" y="5095875"/>
            <a:ext cx="660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1782E0-A58D-4574-9C2E-B2EA35E765A0}" type="datetime'Li''v''''r''''''''''''''e'''' ''''''''-'''''''''''''' ''''PF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re - PF</a:t>
            </a:fld>
            <a:endParaRPr lang="en-GB" sz="1200" dirty="0" smtClean="0">
              <a:sym typeface="+mn-lt"/>
            </a:endParaRPr>
          </a:p>
        </p:txBody>
      </p:sp>
      <p:sp>
        <p:nvSpPr>
          <p:cNvPr id="17" name="BodyText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09625" y="5329238"/>
            <a:ext cx="877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BE4100-27E0-483F-BCE2-F037701A80BA}" type="datetime'''''L''i''''v''r''e ''-'''''' ''M''''''é''d''''''''i''''a''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re - Média</a:t>
            </a:fld>
            <a:endParaRPr lang="en-GB" sz="1200" dirty="0" smtClean="0">
              <a:sym typeface="+mn-lt"/>
            </a:endParaRPr>
          </a:p>
        </p:txBody>
      </p:sp>
      <p:sp>
        <p:nvSpPr>
          <p:cNvPr id="29" name="BodyText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58988" y="5095875"/>
            <a:ext cx="14684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D3B9E-3703-47CF-A8B4-D8AE265BB6F7}" type="datetime'''''''D''ir''''''e''''''cion''ado'''' -'''''''''' BN''D''''ES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recionado - BNDES</a:t>
            </a:fld>
            <a:endParaRPr lang="en-GB" sz="1200" dirty="0" smtClean="0">
              <a:sym typeface="+mn-lt"/>
            </a:endParaRPr>
          </a:p>
        </p:txBody>
      </p:sp>
      <p:sp>
        <p:nvSpPr>
          <p:cNvPr id="42" name="BodyText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058988" y="5329238"/>
            <a:ext cx="439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AFCF0A-8813-48CB-89EA-855AC5A663CC}" type="datetime'''''''''''''SE''L''''I''''''''''''''''''''C''''''''''''''''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LIC</a:t>
            </a:fld>
            <a:endParaRPr lang="en-GB" sz="1200" dirty="0" smtClean="0">
              <a:sym typeface="+mn-lt"/>
            </a:endParaRPr>
          </a:p>
        </p:txBody>
      </p:sp>
      <p:sp>
        <p:nvSpPr>
          <p:cNvPr id="18" name="BodyText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9625" y="5562600"/>
            <a:ext cx="642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79F698-91BE-4746-8C7A-723EF92E4FE4}" type="datetime'L''i''''''vr''e'''''''''' ''''''''''''-'' P''''''J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re - PJ</a:t>
            </a:fld>
            <a:endParaRPr lang="en-GB" sz="1200" dirty="0" smtClean="0">
              <a:sym typeface="+mn-lt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5019869" y="1399190"/>
            <a:ext cx="411480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dirty="0" smtClean="0"/>
              <a:t>Os juros de operação de crédito livre são muito mais elevados que a taxa básica de juros (SELIC). Por outro lado, os juros para financiamento via BNDES, que têm a TJLP como base, hoje em 7% ao ano, por muitas vezes na série histórica, ficaram mais baixos que a taxa SELIC</a:t>
            </a:r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b="1" dirty="0" smtClean="0"/>
              <a:t>Efeito “meia entrada”</a:t>
            </a:r>
            <a:endParaRPr lang="pt-BR" sz="1200" dirty="0" smtClean="0"/>
          </a:p>
          <a:p>
            <a:pPr marL="360000" lvl="1" indent="-180000">
              <a:spcBef>
                <a:spcPts val="1200"/>
              </a:spcBef>
              <a:buSzPct val="100000"/>
              <a:buFont typeface="Arial"/>
              <a:buChar char="–"/>
            </a:pPr>
            <a:r>
              <a:rPr lang="pt-BR" sz="1200" dirty="0" smtClean="0"/>
              <a:t>Estudos mostram </a:t>
            </a:r>
            <a:r>
              <a:rPr lang="pt-BR" sz="1200" dirty="0"/>
              <a:t>que </a:t>
            </a:r>
            <a:r>
              <a:rPr lang="pt-BR" sz="1200" b="1" dirty="0"/>
              <a:t>o custo dos direcionamentos de crédito representa uma parcela importante do custo atual do crédito </a:t>
            </a:r>
            <a:r>
              <a:rPr lang="pt-BR" sz="1200" b="1" dirty="0" smtClean="0"/>
              <a:t>livre</a:t>
            </a:r>
            <a:endParaRPr lang="pt-BR" sz="1200" dirty="0" smtClean="0"/>
          </a:p>
          <a:p>
            <a:pPr marL="360000" lvl="1" indent="-180000">
              <a:spcBef>
                <a:spcPts val="1200"/>
              </a:spcBef>
              <a:buSzPct val="100000"/>
              <a:buFont typeface="Arial"/>
              <a:buChar char="–"/>
            </a:pPr>
            <a:r>
              <a:rPr lang="pt-BR" sz="1200" dirty="0" smtClean="0"/>
              <a:t>O </a:t>
            </a:r>
            <a:r>
              <a:rPr lang="pt-BR" sz="1200" dirty="0"/>
              <a:t>crédito subsidiado dificulta a política monetária, aumentando o juro necessário para estabilizar a inflação. Segundo </a:t>
            </a:r>
            <a:r>
              <a:rPr lang="pt-BR" sz="1200" dirty="0" smtClean="0"/>
              <a:t>Monica </a:t>
            </a:r>
            <a:r>
              <a:rPr lang="pt-BR" sz="1200" dirty="0"/>
              <a:t>de </a:t>
            </a:r>
            <a:r>
              <a:rPr lang="pt-BR" sz="1200" dirty="0" smtClean="0"/>
              <a:t>Bolle</a:t>
            </a:r>
            <a:r>
              <a:rPr lang="pt-BR" sz="1200" baseline="30000" dirty="0" smtClean="0"/>
              <a:t>3</a:t>
            </a:r>
            <a:r>
              <a:rPr lang="pt-BR" sz="1200" dirty="0" smtClean="0"/>
              <a:t>, uma alta de 1 </a:t>
            </a:r>
            <a:r>
              <a:rPr lang="pt-BR" sz="1200" dirty="0" err="1" smtClean="0"/>
              <a:t>p.p</a:t>
            </a:r>
            <a:r>
              <a:rPr lang="pt-BR" sz="1200" dirty="0" smtClean="0"/>
              <a:t>. da participação do crédito </a:t>
            </a:r>
            <a:r>
              <a:rPr lang="pt-BR" sz="1200" dirty="0"/>
              <a:t>subsidiado </a:t>
            </a:r>
            <a:r>
              <a:rPr lang="pt-BR" sz="1200" dirty="0" smtClean="0"/>
              <a:t>para o BNDES no PIB provoca um aumento de 0,5 </a:t>
            </a:r>
            <a:r>
              <a:rPr lang="pt-BR" sz="1200" dirty="0" err="1" smtClean="0"/>
              <a:t>p.p</a:t>
            </a:r>
            <a:r>
              <a:rPr lang="pt-BR" sz="1200" dirty="0" smtClean="0"/>
              <a:t>. nos juros reais</a:t>
            </a:r>
          </a:p>
        </p:txBody>
      </p:sp>
      <p:graphicFrame>
        <p:nvGraphicFramePr>
          <p:cNvPr id="37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01979956"/>
              </p:ext>
            </p:extLst>
          </p:nvPr>
        </p:nvGraphicFramePr>
        <p:xfrm>
          <a:off x="539750" y="5745163"/>
          <a:ext cx="8686800" cy="6400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8686800"/>
              </a:tblGrid>
              <a:tr h="0">
                <a:tc>
                  <a:txBody>
                    <a:bodyPr/>
                    <a:lstStyle/>
                    <a:p>
                      <a:r>
                        <a:rPr kumimoji="0" lang="pt-BR" sz="1800" b="0" i="0" u="none" baseline="0" noProof="0" dirty="0" smtClean="0">
                          <a:solidFill>
                            <a:schemeClr val="tx2"/>
                          </a:solidFill>
                          <a:latin typeface="+mn-lt"/>
                          <a:cs typeface="+mn-lt"/>
                          <a:sym typeface="+mn-lt"/>
                        </a:rPr>
                        <a:t>Os empréstimos subsidiados do BNDES fazem com que as taxas de juros das outras modalidades de crédito sejam mais elevadas </a:t>
                      </a:r>
                      <a:endParaRPr kumimoji="0" lang="pt-BR" sz="1800" b="0" i="0" u="none" baseline="0" noProof="0" dirty="0">
                        <a:solidFill>
                          <a:schemeClr val="tx2"/>
                        </a:solidFill>
                        <a:latin typeface="+mn-lt"/>
                        <a:cs typeface="+mn-lt"/>
                        <a:sym typeface="+mn-lt"/>
                      </a:endParaRPr>
                    </a:p>
                  </a:txBody>
                  <a:tcPr anchor="b">
                    <a:lnT w="9525">
                      <a:solidFill>
                        <a:schemeClr val="accent4"/>
                      </a:solidFill>
                    </a:lnT>
                    <a:lnB w="9525" cap="flat" cmpd="sng" algn="ctr">
                      <a:solidFill>
                        <a:schemeClr val="accent4"/>
                      </a:solidFill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90892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0404933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8252" name="think-cell Slide" r:id="rId25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2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 </a:t>
            </a:r>
            <a:r>
              <a:rPr lang="pt-BR" i="1" dirty="0" smtClean="0"/>
              <a:t>spread </a:t>
            </a:r>
            <a:r>
              <a:rPr lang="pt-BR" dirty="0" smtClean="0"/>
              <a:t>bancário elevado no Brasil também é consequência do subsídio para o crédito direcionado</a:t>
            </a:r>
            <a:endParaRPr lang="pt-BR" dirty="0"/>
          </a:p>
        </p:txBody>
      </p:sp>
      <p:sp>
        <p:nvSpPr>
          <p:cNvPr id="15" name="Footnote"/>
          <p:cNvSpPr/>
          <p:nvPr/>
        </p:nvSpPr>
        <p:spPr>
          <a:xfrm>
            <a:off x="457219" y="6081429"/>
            <a:ext cx="86868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GB" sz="800" kern="0" dirty="0" smtClean="0">
                <a:solidFill>
                  <a:schemeClr val="tx1"/>
                </a:solidFill>
              </a:rPr>
              <a:t>1. </a:t>
            </a:r>
            <a:r>
              <a:rPr lang="en-GB" sz="800" kern="0" dirty="0" err="1" smtClean="0"/>
              <a:t>Godlfajn</a:t>
            </a:r>
            <a:r>
              <a:rPr lang="en-GB" sz="800" kern="0" dirty="0"/>
              <a:t>, </a:t>
            </a:r>
            <a:r>
              <a:rPr lang="en-GB" sz="800" kern="0" dirty="0" err="1"/>
              <a:t>Ilan</a:t>
            </a:r>
            <a:r>
              <a:rPr lang="en-GB" sz="800" kern="0" dirty="0"/>
              <a:t>. </a:t>
            </a:r>
            <a:r>
              <a:rPr lang="en-GB" sz="800" kern="0" dirty="0" err="1"/>
              <a:t>Painel</a:t>
            </a:r>
            <a:r>
              <a:rPr lang="en-GB" sz="800" kern="0" dirty="0"/>
              <a:t> </a:t>
            </a:r>
            <a:r>
              <a:rPr lang="en-GB" sz="800" kern="0" dirty="0" err="1"/>
              <a:t>Projeto</a:t>
            </a:r>
            <a:r>
              <a:rPr lang="en-GB" sz="800" kern="0" dirty="0"/>
              <a:t> de Spread </a:t>
            </a:r>
            <a:r>
              <a:rPr lang="en-GB" sz="800" kern="0" dirty="0" err="1"/>
              <a:t>Bancário</a:t>
            </a:r>
            <a:r>
              <a:rPr lang="en-GB" sz="800" kern="0" dirty="0"/>
              <a:t>, </a:t>
            </a:r>
            <a:r>
              <a:rPr lang="en-GB" sz="800" kern="0" dirty="0" err="1"/>
              <a:t>fev</a:t>
            </a:r>
            <a:r>
              <a:rPr lang="en-GB" sz="800" kern="0" dirty="0"/>
              <a:t>/2017, </a:t>
            </a:r>
            <a:r>
              <a:rPr lang="en-GB" sz="800" kern="0" dirty="0" smtClean="0"/>
              <a:t>BCB. </a:t>
            </a:r>
            <a:r>
              <a:rPr lang="en-GB" sz="800" kern="0" dirty="0" err="1" smtClean="0"/>
              <a:t>Escopo</a:t>
            </a:r>
            <a:r>
              <a:rPr lang="en-GB" sz="800" kern="0" dirty="0" smtClean="0"/>
              <a:t>: </a:t>
            </a:r>
            <a:r>
              <a:rPr lang="en-GB" sz="800" kern="0" dirty="0" err="1" smtClean="0"/>
              <a:t>bancos</a:t>
            </a:r>
            <a:r>
              <a:rPr lang="en-GB" sz="800" kern="0" dirty="0" smtClean="0"/>
              <a:t> </a:t>
            </a:r>
            <a:r>
              <a:rPr lang="en-GB" sz="800" kern="0" dirty="0" err="1" smtClean="0"/>
              <a:t>múltiplos</a:t>
            </a:r>
            <a:r>
              <a:rPr lang="en-GB" sz="800" kern="0" dirty="0" smtClean="0"/>
              <a:t> e </a:t>
            </a:r>
            <a:r>
              <a:rPr lang="en-GB" sz="800" kern="0" dirty="0" err="1" smtClean="0"/>
              <a:t>comerciais</a:t>
            </a:r>
            <a:r>
              <a:rPr lang="en-GB" sz="800" kern="0" dirty="0" smtClean="0"/>
              <a:t>. </a:t>
            </a:r>
            <a:r>
              <a:rPr lang="pt-BR" sz="800" dirty="0"/>
              <a:t>O </a:t>
            </a:r>
            <a:r>
              <a:rPr lang="pt-BR" sz="800" i="1" dirty="0"/>
              <a:t>spread </a:t>
            </a:r>
            <a:r>
              <a:rPr lang="pt-BR" sz="800" dirty="0"/>
              <a:t>é a diferença entre o custo de captação dos bancos e a taxa cobrada nas operações de crédito </a:t>
            </a:r>
          </a:p>
        </p:txBody>
      </p:sp>
      <p:sp>
        <p:nvSpPr>
          <p:cNvPr id="582" name="TextBox 581"/>
          <p:cNvSpPr txBox="1"/>
          <p:nvPr/>
        </p:nvSpPr>
        <p:spPr>
          <a:xfrm>
            <a:off x="452438" y="1399032"/>
            <a:ext cx="45767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Decomposição do </a:t>
            </a:r>
            <a:r>
              <a:rPr lang="pt-BR" sz="1200" b="1" i="1" kern="0" dirty="0" smtClean="0">
                <a:solidFill>
                  <a:schemeClr val="accent1"/>
                </a:solidFill>
                <a:latin typeface="+mj-lt"/>
              </a:rPr>
              <a:t>spread</a:t>
            </a:r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 bancário</a:t>
            </a:r>
            <a:r>
              <a:rPr lang="pt-BR" sz="1200" b="1" kern="0" baseline="30000" dirty="0" smtClean="0">
                <a:solidFill>
                  <a:schemeClr val="accent1"/>
                </a:solidFill>
                <a:latin typeface="+mj-lt"/>
              </a:rPr>
              <a:t>1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Taxa média 2011-16, em </a:t>
            </a:r>
            <a:r>
              <a:rPr lang="pt-BR" sz="1200" kern="0" dirty="0" err="1" smtClean="0">
                <a:solidFill>
                  <a:schemeClr val="accent1"/>
                </a:solidFill>
                <a:latin typeface="+mj-lt"/>
              </a:rPr>
              <a:t>p.p</a:t>
            </a:r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355771" y="1402585"/>
            <a:ext cx="3778898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dirty="0" smtClean="0"/>
              <a:t>A decomposição do </a:t>
            </a:r>
            <a:r>
              <a:rPr lang="pt-BR" sz="1200" i="1" dirty="0" smtClean="0"/>
              <a:t>spread </a:t>
            </a:r>
            <a:r>
              <a:rPr lang="pt-BR" sz="1200" dirty="0" smtClean="0"/>
              <a:t>revela </a:t>
            </a:r>
            <a:r>
              <a:rPr lang="pt-BR" sz="1200" b="1" dirty="0" smtClean="0"/>
              <a:t>forte subsídio cruzado</a:t>
            </a:r>
            <a:r>
              <a:rPr lang="pt-BR" sz="1200" dirty="0" smtClean="0"/>
              <a:t>, onde os menores lucros em crédito direcionado são compensados pelo maior lucro em operações de crédito livre</a:t>
            </a:r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dirty="0" smtClean="0"/>
              <a:t>Enquanto o spread de crédito direcionado PJ é de 4,8 </a:t>
            </a:r>
            <a:r>
              <a:rPr lang="pt-BR" sz="1200" dirty="0" err="1" smtClean="0"/>
              <a:t>p.p</a:t>
            </a:r>
            <a:r>
              <a:rPr lang="pt-BR" sz="1200" dirty="0" smtClean="0"/>
              <a:t>., o spread de crédito livre PJ é de 16,5 </a:t>
            </a:r>
            <a:r>
              <a:rPr lang="pt-BR" sz="1200" dirty="0" err="1" smtClean="0"/>
              <a:t>p.p</a:t>
            </a:r>
            <a:r>
              <a:rPr lang="pt-BR" sz="1200" dirty="0" smtClean="0"/>
              <a:t>. </a:t>
            </a:r>
            <a:endParaRPr lang="pt-BR" sz="1200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90203021"/>
              </p:ext>
            </p:extLst>
          </p:nvPr>
        </p:nvGraphicFramePr>
        <p:xfrm>
          <a:off x="380999" y="1904999"/>
          <a:ext cx="4069066" cy="2575584"/>
        </p:xfrm>
        <a:graphic>
          <a:graphicData uri="http://schemas.openxmlformats.org/presentationml/2006/ole">
            <p:oleObj spid="_x0000_s8253" name="Chart" r:id="rId26" imgW="4069066" imgH="2575584" progId="MSGraph.Chart.8">
              <p:embed followColorScheme="full"/>
            </p:oleObj>
          </a:graphicData>
        </a:graphic>
      </p:graphicFrame>
      <p:sp>
        <p:nvSpPr>
          <p:cNvPr id="48" name="BodyText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78188" y="4476750"/>
            <a:ext cx="84931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E136AB-D995-436B-8E0F-316FC275CA21}" type="datetime'''T''''''''otal'''''''''''' (livre'' e ''direcion''''ado'')'''">
              <a:rPr lang="en-GB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 (livre e direcionado)</a:t>
            </a:fld>
            <a:endParaRPr lang="en-GB" sz="1200" dirty="0" smtClean="0">
              <a:sym typeface="+mn-lt"/>
            </a:endParaRPr>
          </a:p>
        </p:txBody>
      </p:sp>
      <p:sp>
        <p:nvSpPr>
          <p:cNvPr id="77" name="BodyText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481263" y="3408363"/>
            <a:ext cx="225425" cy="152400"/>
          </a:xfrm>
          <a:prstGeom prst="rect">
            <a:avLst/>
          </a:prstGeom>
          <a:solidFill>
            <a:srgbClr val="60606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4B96FD-F423-42F9-9CC3-D9E7103795EE}" type="datetime'''''''''''0''''''''''''.8'''''''''''''''''''''''''''''''''">
              <a:rPr lang="en-GB" altLang="en-US" sz="10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sz="10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BodyText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266950" y="2457450"/>
            <a:ext cx="295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4A9B4F-B555-4522-BC8C-444257798166}" type="datetime'2''''''''''''''''''''''5''''''''.''9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9</a:t>
            </a:fld>
            <a:endParaRPr lang="en-GB" sz="1000" dirty="0" smtClean="0">
              <a:sym typeface="+mn-lt"/>
            </a:endParaRPr>
          </a:p>
        </p:txBody>
      </p:sp>
      <p:sp>
        <p:nvSpPr>
          <p:cNvPr id="46" name="BodyText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7688" y="4476750"/>
            <a:ext cx="1160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ABEA7B-EDFC-495F-BC5D-B84F2452897F}" type="datetime'''L''''i''''''v''''''re ''(p''''r''''é-f''ix''a''''do)'''''''">
              <a:rPr lang="en-GB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vre (pré-fixado)</a:t>
            </a:fld>
            <a:endParaRPr lang="en-GB" sz="1200" dirty="0" smtClean="0">
              <a:sym typeface="+mn-lt"/>
            </a:endParaRPr>
          </a:p>
        </p:txBody>
      </p:sp>
      <p:sp>
        <p:nvSpPr>
          <p:cNvPr id="76" name="BodyText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93800" y="3695700"/>
            <a:ext cx="225425" cy="152400"/>
          </a:xfrm>
          <a:prstGeom prst="rect">
            <a:avLst/>
          </a:prstGeom>
          <a:solidFill>
            <a:srgbClr val="60606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07DF1F-B0D8-4679-8590-7AAE2DF79AB5}" type="datetime'1''''''''''''''''''''''.''''''''2'''''''''''''''''''">
              <a:rPr lang="en-GB" altLang="en-US" sz="10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GB" sz="10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" name="BodyText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54413" y="3067050"/>
            <a:ext cx="295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E8388-2E09-440C-9C56-16AC6AA0EC16}" type="datetime'''''''''16''''''''''''''.''''''''9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9</a:t>
            </a:fld>
            <a:endParaRPr lang="en-GB" sz="1000" dirty="0" smtClean="0">
              <a:sym typeface="+mn-lt"/>
            </a:endParaRPr>
          </a:p>
        </p:txBody>
      </p:sp>
      <p:sp>
        <p:nvSpPr>
          <p:cNvPr id="78" name="BodyText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68725" y="3636963"/>
            <a:ext cx="225425" cy="152400"/>
          </a:xfrm>
          <a:prstGeom prst="rect">
            <a:avLst/>
          </a:prstGeom>
          <a:solidFill>
            <a:srgbClr val="60606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F3C957-9C21-4B0C-BE4F-2622149C6595}" type="datetime'''''''''''''''''''''''''''''''''''''''''0.''''3'''''''''''">
              <a:rPr lang="en-GB" altLang="en-US" sz="10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GB" sz="10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BodyText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124075" y="3473450"/>
            <a:ext cx="225425" cy="152400"/>
          </a:xfrm>
          <a:prstGeom prst="rect">
            <a:avLst/>
          </a:prstGeom>
          <a:solidFill>
            <a:srgbClr val="9DE0ED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8E3B84-96A1-405B-9334-2421609C5548}" type="datetime'1.''''''''''''''''''''''''1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endParaRPr lang="en-GB" sz="1000" dirty="0" smtClean="0">
              <a:sym typeface="+mn-lt"/>
            </a:endParaRPr>
          </a:p>
        </p:txBody>
      </p:sp>
      <p:sp>
        <p:nvSpPr>
          <p:cNvPr id="52" name="BodyText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79488" y="1833563"/>
            <a:ext cx="295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B8ED15-FFB4-4B55-BA0B-1794B819B899}" type="datetime'''3''''''''''5''.''''''2''''''''''''''''''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2</a:t>
            </a:fld>
            <a:endParaRPr lang="en-GB" sz="1000" dirty="0" smtClean="0">
              <a:sym typeface="+mn-lt"/>
            </a:endParaRPr>
          </a:p>
        </p:txBody>
      </p:sp>
      <p:sp>
        <p:nvSpPr>
          <p:cNvPr id="47" name="BodyText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60550" y="4476750"/>
            <a:ext cx="110966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8CCC11-1D2F-4854-8C8A-8F7B783FE69A}" type="datetime'Livre'' (''pré''-f''''ixado'' ''e pó''s'' fix''''a''''d''o'')'">
              <a:rPr lang="en-GB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vre (pré-fixado e pós fixado)</a:t>
            </a:fld>
            <a:endParaRPr lang="en-GB" sz="1200" dirty="0" smtClean="0">
              <a:sym typeface="+mn-lt"/>
            </a:endParaRPr>
          </a:p>
        </p:txBody>
      </p:sp>
      <p:sp>
        <p:nvSpPr>
          <p:cNvPr id="72" name="BodyText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411538" y="3675063"/>
            <a:ext cx="225425" cy="152400"/>
          </a:xfrm>
          <a:prstGeom prst="rect">
            <a:avLst/>
          </a:prstGeom>
          <a:solidFill>
            <a:srgbClr val="9DE0ED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62B7B-C784-4EBD-ACC5-3762B49737FF}" type="datetime'''''''''''0''''''.''''''''''''''''''''''''''''''''''8'''''''">
              <a:rPr lang="en-GB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sz="1000" dirty="0" smtClean="0"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14"/>
            </p:custDataLst>
          </p:nvPr>
        </p:nvSpPr>
        <p:spPr bwMode="auto">
          <a:xfrm>
            <a:off x="512763" y="5607050"/>
            <a:ext cx="214313" cy="160338"/>
          </a:xfrm>
          <a:prstGeom prst="rect">
            <a:avLst/>
          </a:prstGeom>
          <a:solidFill>
            <a:srgbClr val="9DE0ED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>
            <p:custDataLst>
              <p:tags r:id="rId15"/>
            </p:custDataLst>
          </p:nvPr>
        </p:nvSpPr>
        <p:spPr bwMode="auto">
          <a:xfrm>
            <a:off x="512763" y="5840413"/>
            <a:ext cx="214313" cy="160338"/>
          </a:xfrm>
          <a:prstGeom prst="rect">
            <a:avLst/>
          </a:prstGeom>
          <a:solidFill>
            <a:srgbClr val="008AB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16"/>
            </p:custDataLst>
          </p:nvPr>
        </p:nvSpPr>
        <p:spPr bwMode="auto">
          <a:xfrm>
            <a:off x="512763" y="4906963"/>
            <a:ext cx="214313" cy="160338"/>
          </a:xfrm>
          <a:prstGeom prst="rect">
            <a:avLst/>
          </a:prstGeom>
          <a:solidFill>
            <a:srgbClr val="ADC6D7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17"/>
            </p:custDataLst>
          </p:nvPr>
        </p:nvSpPr>
        <p:spPr bwMode="auto">
          <a:xfrm>
            <a:off x="512763" y="5373688"/>
            <a:ext cx="214313" cy="160338"/>
          </a:xfrm>
          <a:prstGeom prst="rect">
            <a:avLst/>
          </a:prstGeom>
          <a:solidFill>
            <a:srgbClr val="60606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18"/>
            </p:custDataLst>
          </p:nvPr>
        </p:nvSpPr>
        <p:spPr bwMode="auto">
          <a:xfrm>
            <a:off x="512763" y="5140325"/>
            <a:ext cx="214313" cy="160338"/>
          </a:xfrm>
          <a:prstGeom prst="rect">
            <a:avLst/>
          </a:prstGeom>
          <a:solidFill>
            <a:srgbClr val="BFBFB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1" name="BodyText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7875" y="5368925"/>
            <a:ext cx="26066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84EAA7-B3A3-4C23-B6D2-378553E4EEB4}" type="datetime'C''''om''pulsó''rio + encarg''''''''os fi''scai''s ''e FGC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mpulsório + encargos fiscais e FGC</a:t>
            </a:fld>
            <a:endParaRPr lang="en-GB" sz="1200" dirty="0" smtClean="0">
              <a:sym typeface="+mn-lt"/>
            </a:endParaRPr>
          </a:p>
        </p:txBody>
      </p:sp>
      <p:sp>
        <p:nvSpPr>
          <p:cNvPr id="56" name="BodyText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77875" y="5835650"/>
            <a:ext cx="935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47B7A8-F1DD-4B82-A534-9CD00B3E23DE}" type="datetime'I''n''''''ad''''i''''''''m''''plê''n''''''c''''''''''i''''''a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adimplência</a:t>
            </a:fld>
            <a:endParaRPr lang="en-GB" sz="1200" dirty="0" smtClean="0">
              <a:sym typeface="+mn-lt"/>
            </a:endParaRPr>
          </a:p>
        </p:txBody>
      </p:sp>
      <p:sp>
        <p:nvSpPr>
          <p:cNvPr id="50" name="BodyText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7875" y="5135563"/>
            <a:ext cx="1966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53B37-3512-44B4-94FD-EE438C4EEF41}" type="datetime'I''mp''''os''t''os di''''reto''s ''(''''''CS''L''''''L + IR)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mpostos diretos (CSLL + IR)</a:t>
            </a:fld>
            <a:endParaRPr lang="en-GB" sz="1200" dirty="0" smtClean="0">
              <a:sym typeface="+mn-lt"/>
            </a:endParaRPr>
          </a:p>
        </p:txBody>
      </p:sp>
      <p:sp>
        <p:nvSpPr>
          <p:cNvPr id="49" name="BodyText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77875" y="4902200"/>
            <a:ext cx="1047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852C7B-E6B1-44E0-873F-3A4BC267355F}" type="datetime'''L''''''''''u''cr''o''''''''''s e'' ''''''''out''r''os''''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ucros e outros</a:t>
            </a:fld>
            <a:endParaRPr lang="en-GB" sz="1200" dirty="0" smtClean="0">
              <a:sym typeface="+mn-lt"/>
            </a:endParaRPr>
          </a:p>
        </p:txBody>
      </p:sp>
      <p:sp>
        <p:nvSpPr>
          <p:cNvPr id="55" name="BodyText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7875" y="5602288"/>
            <a:ext cx="1393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EF0297-4E9A-4E7B-8DAD-6C4CC012072D}" type="datetime'Cus''''t''''''''o A''''dm''i''n''''''''is''''t''''r''''ativo'">
              <a:rPr lang="en-GB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usto Administrativo</a:t>
            </a:fld>
            <a:endParaRPr lang="en-GB" sz="1200" dirty="0" smtClean="0">
              <a:sym typeface="+mn-lt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48101335"/>
              </p:ext>
            </p:extLst>
          </p:nvPr>
        </p:nvGraphicFramePr>
        <p:xfrm>
          <a:off x="6467980" y="3212109"/>
          <a:ext cx="2666689" cy="15544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203649"/>
                <a:gridCol w="731520"/>
                <a:gridCol w="731520"/>
              </a:tblGrid>
              <a:tr h="0">
                <a:tc gridSpan="3">
                  <a:txBody>
                    <a:bodyPr/>
                    <a:lstStyle/>
                    <a:p>
                      <a:r>
                        <a:rPr lang="pt-BR" i="1" dirty="0" smtClean="0">
                          <a:solidFill>
                            <a:schemeClr val="accent1"/>
                          </a:solidFill>
                        </a:rPr>
                        <a:t>Spread</a:t>
                      </a:r>
                      <a:r>
                        <a:rPr lang="pt-BR" dirty="0" smtClean="0">
                          <a:solidFill>
                            <a:schemeClr val="accent1"/>
                          </a:solidFill>
                        </a:rPr>
                        <a:t> de</a:t>
                      </a:r>
                      <a:r>
                        <a:rPr lang="pt-BR" baseline="0" dirty="0" smtClean="0">
                          <a:solidFill>
                            <a:schemeClr val="accent1"/>
                          </a:solidFill>
                        </a:rPr>
                        <a:t> operações de crédito</a:t>
                      </a:r>
                    </a:p>
                    <a:p>
                      <a:r>
                        <a:rPr lang="pt-BR" b="0" baseline="0" dirty="0" smtClean="0">
                          <a:solidFill>
                            <a:schemeClr val="accent1"/>
                          </a:solidFill>
                        </a:rPr>
                        <a:t>Mai/17, em </a:t>
                      </a:r>
                      <a:r>
                        <a:rPr lang="pt-BR" b="0" baseline="0" dirty="0" err="1" smtClean="0">
                          <a:solidFill>
                            <a:schemeClr val="accent1"/>
                          </a:solidFill>
                        </a:rPr>
                        <a:t>p.p</a:t>
                      </a:r>
                      <a:r>
                        <a:rPr lang="pt-BR" b="0" baseline="0" dirty="0" smtClean="0">
                          <a:solidFill>
                            <a:schemeClr val="accent1"/>
                          </a:solidFill>
                        </a:rPr>
                        <a:t>.</a:t>
                      </a:r>
                      <a:endParaRPr lang="en-GB" b="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/>
                        <a:t>PF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/>
                        <a:t>PJ</a:t>
                      </a:r>
                      <a:endParaRPr lang="en-GB" b="1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b="1" dirty="0" smtClean="0"/>
                        <a:t>Crédito total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8,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1,1</a:t>
                      </a:r>
                      <a:endParaRPr lang="en-GB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b="1" dirty="0" smtClean="0"/>
                        <a:t>Livr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53,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6,5</a:t>
                      </a:r>
                      <a:endParaRPr lang="en-GB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b="1" dirty="0" smtClean="0"/>
                        <a:t>Direcionado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,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4,8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Rounded Rectangle 19"/>
          <p:cNvSpPr/>
          <p:nvPr/>
        </p:nvSpPr>
        <p:spPr>
          <a:xfrm>
            <a:off x="4956417" y="3823612"/>
            <a:ext cx="1054359" cy="89651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400" b="1" i="1" kern="0" dirty="0" smtClean="0">
                <a:solidFill>
                  <a:schemeClr val="tx1"/>
                </a:solidFill>
              </a:rPr>
              <a:t>Spread </a:t>
            </a:r>
            <a:r>
              <a:rPr lang="pt-BR" sz="1400" b="1" kern="0" dirty="0" smtClean="0">
                <a:solidFill>
                  <a:schemeClr val="tx1"/>
                </a:solidFill>
              </a:rPr>
              <a:t>atual é de 21,1 </a:t>
            </a:r>
            <a:r>
              <a:rPr lang="pt-BR" sz="1400" b="1" kern="0" dirty="0" err="1" smtClean="0">
                <a:solidFill>
                  <a:schemeClr val="tx1"/>
                </a:solidFill>
              </a:rPr>
              <a:t>p.p</a:t>
            </a:r>
            <a:r>
              <a:rPr lang="pt-BR" sz="1400" b="1" kern="0" dirty="0" smtClean="0">
                <a:solidFill>
                  <a:schemeClr val="tx1"/>
                </a:solidFill>
              </a:rPr>
              <a:t>.</a:t>
            </a:r>
            <a:endParaRPr lang="en-GB" sz="1400" b="1" kern="0" dirty="0" err="1" smtClean="0">
              <a:solidFill>
                <a:schemeClr val="tx1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6143527" y="4136932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82" name="Freeform 501"/>
          <p:cNvSpPr>
            <a:spLocks noEditPoints="1"/>
          </p:cNvSpPr>
          <p:nvPr/>
        </p:nvSpPr>
        <p:spPr bwMode="auto">
          <a:xfrm>
            <a:off x="7567258" y="4439785"/>
            <a:ext cx="1606614" cy="392727"/>
          </a:xfrm>
          <a:custGeom>
            <a:avLst/>
            <a:gdLst>
              <a:gd name="T0" fmla="*/ 450 w 500"/>
              <a:gd name="T1" fmla="*/ 71 h 305"/>
              <a:gd name="T2" fmla="*/ 422 w 500"/>
              <a:gd name="T3" fmla="*/ 60 h 305"/>
              <a:gd name="T4" fmla="*/ 366 w 500"/>
              <a:gd name="T5" fmla="*/ 54 h 305"/>
              <a:gd name="T6" fmla="*/ 299 w 500"/>
              <a:gd name="T7" fmla="*/ 46 h 305"/>
              <a:gd name="T8" fmla="*/ 265 w 500"/>
              <a:gd name="T9" fmla="*/ 53 h 305"/>
              <a:gd name="T10" fmla="*/ 264 w 500"/>
              <a:gd name="T11" fmla="*/ 53 h 305"/>
              <a:gd name="T12" fmla="*/ 265 w 500"/>
              <a:gd name="T13" fmla="*/ 51 h 305"/>
              <a:gd name="T14" fmla="*/ 265 w 500"/>
              <a:gd name="T15" fmla="*/ 51 h 305"/>
              <a:gd name="T16" fmla="*/ 264 w 500"/>
              <a:gd name="T17" fmla="*/ 51 h 305"/>
              <a:gd name="T18" fmla="*/ 265 w 500"/>
              <a:gd name="T19" fmla="*/ 58 h 305"/>
              <a:gd name="T20" fmla="*/ 263 w 500"/>
              <a:gd name="T21" fmla="*/ 51 h 305"/>
              <a:gd name="T22" fmla="*/ 262 w 500"/>
              <a:gd name="T23" fmla="*/ 53 h 305"/>
              <a:gd name="T24" fmla="*/ 262 w 500"/>
              <a:gd name="T25" fmla="*/ 56 h 305"/>
              <a:gd name="T26" fmla="*/ 262 w 500"/>
              <a:gd name="T27" fmla="*/ 58 h 305"/>
              <a:gd name="T28" fmla="*/ 339 w 500"/>
              <a:gd name="T29" fmla="*/ 54 h 305"/>
              <a:gd name="T30" fmla="*/ 264 w 500"/>
              <a:gd name="T31" fmla="*/ 56 h 305"/>
              <a:gd name="T32" fmla="*/ 263 w 500"/>
              <a:gd name="T33" fmla="*/ 56 h 305"/>
              <a:gd name="T34" fmla="*/ 260 w 500"/>
              <a:gd name="T35" fmla="*/ 52 h 305"/>
              <a:gd name="T36" fmla="*/ 263 w 500"/>
              <a:gd name="T37" fmla="*/ 52 h 305"/>
              <a:gd name="T38" fmla="*/ 494 w 500"/>
              <a:gd name="T39" fmla="*/ 169 h 305"/>
              <a:gd name="T40" fmla="*/ 465 w 500"/>
              <a:gd name="T41" fmla="*/ 217 h 305"/>
              <a:gd name="T42" fmla="*/ 167 w 500"/>
              <a:gd name="T43" fmla="*/ 304 h 305"/>
              <a:gd name="T44" fmla="*/ 2 w 500"/>
              <a:gd name="T45" fmla="*/ 232 h 305"/>
              <a:gd name="T46" fmla="*/ 61 w 500"/>
              <a:gd name="T47" fmla="*/ 102 h 305"/>
              <a:gd name="T48" fmla="*/ 180 w 500"/>
              <a:gd name="T49" fmla="*/ 28 h 305"/>
              <a:gd name="T50" fmla="*/ 304 w 500"/>
              <a:gd name="T51" fmla="*/ 1 h 305"/>
              <a:gd name="T52" fmla="*/ 398 w 500"/>
              <a:gd name="T53" fmla="*/ 6 h 305"/>
              <a:gd name="T54" fmla="*/ 416 w 500"/>
              <a:gd name="T55" fmla="*/ 12 h 305"/>
              <a:gd name="T56" fmla="*/ 424 w 500"/>
              <a:gd name="T57" fmla="*/ 14 h 305"/>
              <a:gd name="T58" fmla="*/ 431 w 500"/>
              <a:gd name="T59" fmla="*/ 19 h 305"/>
              <a:gd name="T60" fmla="*/ 431 w 500"/>
              <a:gd name="T61" fmla="*/ 26 h 305"/>
              <a:gd name="T62" fmla="*/ 423 w 500"/>
              <a:gd name="T63" fmla="*/ 32 h 305"/>
              <a:gd name="T64" fmla="*/ 416 w 500"/>
              <a:gd name="T65" fmla="*/ 31 h 305"/>
              <a:gd name="T66" fmla="*/ 411 w 500"/>
              <a:gd name="T67" fmla="*/ 27 h 305"/>
              <a:gd name="T68" fmla="*/ 383 w 500"/>
              <a:gd name="T69" fmla="*/ 20 h 305"/>
              <a:gd name="T70" fmla="*/ 196 w 500"/>
              <a:gd name="T71" fmla="*/ 38 h 305"/>
              <a:gd name="T72" fmla="*/ 59 w 500"/>
              <a:gd name="T73" fmla="*/ 125 h 305"/>
              <a:gd name="T74" fmla="*/ 51 w 500"/>
              <a:gd name="T75" fmla="*/ 267 h 305"/>
              <a:gd name="T76" fmla="*/ 251 w 500"/>
              <a:gd name="T77" fmla="*/ 289 h 305"/>
              <a:gd name="T78" fmla="*/ 456 w 500"/>
              <a:gd name="T79" fmla="*/ 207 h 305"/>
              <a:gd name="T80" fmla="*/ 487 w 500"/>
              <a:gd name="T81" fmla="*/ 146 h 305"/>
              <a:gd name="T82" fmla="*/ 462 w 500"/>
              <a:gd name="T83" fmla="*/ 91 h 305"/>
              <a:gd name="T84" fmla="*/ 402 w 500"/>
              <a:gd name="T85" fmla="*/ 64 h 305"/>
              <a:gd name="T86" fmla="*/ 367 w 500"/>
              <a:gd name="T87" fmla="*/ 55 h 305"/>
              <a:gd name="T88" fmla="*/ 262 w 500"/>
              <a:gd name="T89" fmla="*/ 58 h 305"/>
              <a:gd name="T90" fmla="*/ 330 w 500"/>
              <a:gd name="T91" fmla="*/ 51 h 305"/>
              <a:gd name="T92" fmla="*/ 418 w 500"/>
              <a:gd name="T93" fmla="*/ 66 h 305"/>
              <a:gd name="T94" fmla="*/ 338 w 500"/>
              <a:gd name="T95" fmla="*/ 47 h 305"/>
              <a:gd name="T96" fmla="*/ 375 w 500"/>
              <a:gd name="T97" fmla="*/ 51 h 305"/>
              <a:gd name="T98" fmla="*/ 369 w 500"/>
              <a:gd name="T99" fmla="*/ 49 h 305"/>
              <a:gd name="T100" fmla="*/ 320 w 500"/>
              <a:gd name="T101" fmla="*/ 45 h 305"/>
              <a:gd name="T102" fmla="*/ 321 w 500"/>
              <a:gd name="T103" fmla="*/ 44 h 305"/>
              <a:gd name="T104" fmla="*/ 307 w 500"/>
              <a:gd name="T105" fmla="*/ 44 h 305"/>
              <a:gd name="T106" fmla="*/ 360 w 500"/>
              <a:gd name="T107" fmla="*/ 45 h 305"/>
              <a:gd name="T108" fmla="*/ 424 w 500"/>
              <a:gd name="T109" fmla="*/ 61 h 305"/>
              <a:gd name="T110" fmla="*/ 480 w 500"/>
              <a:gd name="T111" fmla="*/ 91 h 305"/>
              <a:gd name="T112" fmla="*/ 500 w 500"/>
              <a:gd name="T113" fmla="*/ 148 h 305"/>
              <a:gd name="T114" fmla="*/ 366 w 500"/>
              <a:gd name="T115" fmla="*/ 47 h 305"/>
              <a:gd name="T116" fmla="*/ 391 w 500"/>
              <a:gd name="T117" fmla="*/ 61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0" h="305">
                <a:moveTo>
                  <a:pt x="484" y="124"/>
                </a:moveTo>
                <a:cubicBezTo>
                  <a:pt x="485" y="125"/>
                  <a:pt x="485" y="127"/>
                  <a:pt x="485" y="128"/>
                </a:cubicBezTo>
                <a:lnTo>
                  <a:pt x="484" y="124"/>
                </a:lnTo>
                <a:close/>
                <a:moveTo>
                  <a:pt x="450" y="71"/>
                </a:moveTo>
                <a:cubicBezTo>
                  <a:pt x="449" y="70"/>
                  <a:pt x="448" y="69"/>
                  <a:pt x="445" y="68"/>
                </a:cubicBezTo>
                <a:cubicBezTo>
                  <a:pt x="445" y="68"/>
                  <a:pt x="449" y="70"/>
                  <a:pt x="450" y="71"/>
                </a:cubicBezTo>
                <a:close/>
                <a:moveTo>
                  <a:pt x="438" y="65"/>
                </a:moveTo>
                <a:cubicBezTo>
                  <a:pt x="440" y="66"/>
                  <a:pt x="443" y="67"/>
                  <a:pt x="443" y="67"/>
                </a:cubicBezTo>
                <a:cubicBezTo>
                  <a:pt x="442" y="67"/>
                  <a:pt x="438" y="65"/>
                  <a:pt x="438" y="65"/>
                </a:cubicBezTo>
                <a:close/>
                <a:moveTo>
                  <a:pt x="422" y="60"/>
                </a:moveTo>
                <a:cubicBezTo>
                  <a:pt x="420" y="60"/>
                  <a:pt x="417" y="58"/>
                  <a:pt x="417" y="58"/>
                </a:cubicBezTo>
                <a:cubicBezTo>
                  <a:pt x="418" y="59"/>
                  <a:pt x="421" y="60"/>
                  <a:pt x="422" y="60"/>
                </a:cubicBezTo>
                <a:close/>
                <a:moveTo>
                  <a:pt x="413" y="55"/>
                </a:moveTo>
                <a:cubicBezTo>
                  <a:pt x="410" y="54"/>
                  <a:pt x="405" y="52"/>
                  <a:pt x="404" y="52"/>
                </a:cubicBezTo>
                <a:cubicBezTo>
                  <a:pt x="408" y="53"/>
                  <a:pt x="411" y="54"/>
                  <a:pt x="413" y="55"/>
                </a:cubicBezTo>
                <a:close/>
                <a:moveTo>
                  <a:pt x="366" y="54"/>
                </a:moveTo>
                <a:cubicBezTo>
                  <a:pt x="370" y="55"/>
                  <a:pt x="379" y="56"/>
                  <a:pt x="384" y="57"/>
                </a:cubicBezTo>
                <a:cubicBezTo>
                  <a:pt x="379" y="56"/>
                  <a:pt x="372" y="55"/>
                  <a:pt x="366" y="54"/>
                </a:cubicBezTo>
                <a:close/>
                <a:moveTo>
                  <a:pt x="366" y="49"/>
                </a:moveTo>
                <a:cubicBezTo>
                  <a:pt x="361" y="48"/>
                  <a:pt x="361" y="48"/>
                  <a:pt x="361" y="48"/>
                </a:cubicBezTo>
                <a:cubicBezTo>
                  <a:pt x="359" y="48"/>
                  <a:pt x="347" y="47"/>
                  <a:pt x="348" y="47"/>
                </a:cubicBezTo>
                <a:cubicBezTo>
                  <a:pt x="356" y="47"/>
                  <a:pt x="366" y="49"/>
                  <a:pt x="372" y="50"/>
                </a:cubicBezTo>
                <a:cubicBezTo>
                  <a:pt x="370" y="50"/>
                  <a:pt x="368" y="50"/>
                  <a:pt x="366" y="49"/>
                </a:cubicBezTo>
                <a:close/>
                <a:moveTo>
                  <a:pt x="299" y="46"/>
                </a:moveTo>
                <a:cubicBezTo>
                  <a:pt x="296" y="46"/>
                  <a:pt x="296" y="46"/>
                  <a:pt x="296" y="46"/>
                </a:cubicBezTo>
                <a:cubicBezTo>
                  <a:pt x="296" y="47"/>
                  <a:pt x="296" y="47"/>
                  <a:pt x="297" y="47"/>
                </a:cubicBezTo>
                <a:cubicBezTo>
                  <a:pt x="299" y="46"/>
                  <a:pt x="299" y="46"/>
                  <a:pt x="299" y="46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5" y="53"/>
                  <a:pt x="265" y="53"/>
                </a:cubicBezTo>
                <a:cubicBezTo>
                  <a:pt x="265" y="53"/>
                  <a:pt x="265" y="53"/>
                  <a:pt x="265" y="53"/>
                </a:cubicBezTo>
                <a:cubicBezTo>
                  <a:pt x="269" y="52"/>
                  <a:pt x="269" y="52"/>
                  <a:pt x="269" y="52"/>
                </a:cubicBezTo>
                <a:lnTo>
                  <a:pt x="264" y="53"/>
                </a:ln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3" y="53"/>
                  <a:pt x="264" y="53"/>
                  <a:pt x="264" y="53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lose/>
                <a:moveTo>
                  <a:pt x="265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5" y="51"/>
                </a:cubicBezTo>
                <a:cubicBezTo>
                  <a:pt x="265" y="51"/>
                  <a:pt x="265" y="51"/>
                  <a:pt x="265" y="51"/>
                </a:cubicBezTo>
                <a:cubicBezTo>
                  <a:pt x="265" y="51"/>
                  <a:pt x="265" y="51"/>
                  <a:pt x="265" y="50"/>
                </a:cubicBezTo>
                <a:cubicBezTo>
                  <a:pt x="265" y="51"/>
                  <a:pt x="265" y="51"/>
                  <a:pt x="265" y="51"/>
                </a:cubicBezTo>
                <a:close/>
                <a:moveTo>
                  <a:pt x="265" y="57"/>
                </a:moveTo>
                <a:cubicBezTo>
                  <a:pt x="265" y="57"/>
                  <a:pt x="265" y="57"/>
                  <a:pt x="265" y="57"/>
                </a:cubicBezTo>
                <a:cubicBezTo>
                  <a:pt x="265" y="57"/>
                  <a:pt x="265" y="57"/>
                  <a:pt x="265" y="57"/>
                </a:cubicBezTo>
                <a:close/>
                <a:moveTo>
                  <a:pt x="264" y="51"/>
                </a:moveTo>
                <a:cubicBezTo>
                  <a:pt x="264" y="51"/>
                  <a:pt x="264" y="52"/>
                  <a:pt x="264" y="52"/>
                </a:cubicBezTo>
                <a:cubicBezTo>
                  <a:pt x="264" y="52"/>
                  <a:pt x="264" y="52"/>
                  <a:pt x="264" y="51"/>
                </a:cubicBezTo>
                <a:close/>
                <a:moveTo>
                  <a:pt x="264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lose/>
                <a:moveTo>
                  <a:pt x="265" y="58"/>
                </a:moveTo>
                <a:cubicBezTo>
                  <a:pt x="265" y="58"/>
                  <a:pt x="265" y="58"/>
                  <a:pt x="265" y="58"/>
                </a:cubicBezTo>
                <a:cubicBezTo>
                  <a:pt x="265" y="58"/>
                  <a:pt x="265" y="58"/>
                  <a:pt x="265" y="58"/>
                </a:cubicBezTo>
                <a:close/>
                <a:moveTo>
                  <a:pt x="265" y="57"/>
                </a:moveTo>
                <a:cubicBezTo>
                  <a:pt x="264" y="57"/>
                  <a:pt x="264" y="57"/>
                  <a:pt x="264" y="57"/>
                </a:cubicBezTo>
                <a:cubicBezTo>
                  <a:pt x="264" y="57"/>
                  <a:pt x="265" y="57"/>
                  <a:pt x="265" y="57"/>
                </a:cubicBezTo>
                <a:close/>
                <a:moveTo>
                  <a:pt x="263" y="51"/>
                </a:moveTo>
                <a:cubicBezTo>
                  <a:pt x="263" y="51"/>
                  <a:pt x="263" y="51"/>
                  <a:pt x="263" y="51"/>
                </a:cubicBezTo>
                <a:cubicBezTo>
                  <a:pt x="263" y="51"/>
                  <a:pt x="263" y="51"/>
                  <a:pt x="263" y="51"/>
                </a:cubicBezTo>
                <a:close/>
                <a:moveTo>
                  <a:pt x="263" y="54"/>
                </a:moveTo>
                <a:cubicBezTo>
                  <a:pt x="263" y="54"/>
                  <a:pt x="263" y="53"/>
                  <a:pt x="263" y="53"/>
                </a:cubicBezTo>
                <a:cubicBezTo>
                  <a:pt x="263" y="53"/>
                  <a:pt x="263" y="53"/>
                  <a:pt x="263" y="54"/>
                </a:cubicBezTo>
                <a:close/>
                <a:moveTo>
                  <a:pt x="262" y="53"/>
                </a:moveTo>
                <a:cubicBezTo>
                  <a:pt x="263" y="53"/>
                  <a:pt x="263" y="53"/>
                  <a:pt x="263" y="53"/>
                </a:cubicBezTo>
                <a:cubicBezTo>
                  <a:pt x="263" y="53"/>
                  <a:pt x="262" y="53"/>
                  <a:pt x="262" y="53"/>
                </a:cubicBezTo>
                <a:close/>
                <a:moveTo>
                  <a:pt x="262" y="53"/>
                </a:moveTo>
                <a:cubicBezTo>
                  <a:pt x="262" y="52"/>
                  <a:pt x="262" y="53"/>
                  <a:pt x="262" y="53"/>
                </a:cubicBezTo>
                <a:cubicBezTo>
                  <a:pt x="262" y="53"/>
                  <a:pt x="262" y="52"/>
                  <a:pt x="262" y="52"/>
                </a:cubicBezTo>
                <a:cubicBezTo>
                  <a:pt x="262" y="53"/>
                  <a:pt x="262" y="53"/>
                  <a:pt x="262" y="53"/>
                </a:cubicBezTo>
                <a:close/>
                <a:moveTo>
                  <a:pt x="262" y="56"/>
                </a:moveTo>
                <a:cubicBezTo>
                  <a:pt x="263" y="56"/>
                  <a:pt x="262" y="56"/>
                  <a:pt x="262" y="56"/>
                </a:cubicBezTo>
                <a:close/>
                <a:moveTo>
                  <a:pt x="261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8"/>
                  <a:pt x="261" y="58"/>
                  <a:pt x="261" y="58"/>
                </a:cubicBezTo>
                <a:close/>
                <a:moveTo>
                  <a:pt x="262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9"/>
                  <a:pt x="262" y="59"/>
                  <a:pt x="262" y="58"/>
                </a:cubicBezTo>
                <a:close/>
                <a:moveTo>
                  <a:pt x="262" y="61"/>
                </a:moveTo>
                <a:cubicBezTo>
                  <a:pt x="262" y="61"/>
                  <a:pt x="262" y="61"/>
                  <a:pt x="262" y="61"/>
                </a:cubicBezTo>
                <a:cubicBezTo>
                  <a:pt x="262" y="61"/>
                  <a:pt x="262" y="61"/>
                  <a:pt x="262" y="61"/>
                </a:cubicBezTo>
                <a:close/>
                <a:moveTo>
                  <a:pt x="261" y="61"/>
                </a:moveTo>
                <a:cubicBezTo>
                  <a:pt x="260" y="61"/>
                  <a:pt x="260" y="61"/>
                  <a:pt x="261" y="61"/>
                </a:cubicBezTo>
                <a:close/>
                <a:moveTo>
                  <a:pt x="339" y="54"/>
                </a:moveTo>
                <a:cubicBezTo>
                  <a:pt x="334" y="54"/>
                  <a:pt x="330" y="54"/>
                  <a:pt x="326" y="54"/>
                </a:cubicBezTo>
                <a:cubicBezTo>
                  <a:pt x="329" y="54"/>
                  <a:pt x="333" y="54"/>
                  <a:pt x="336" y="54"/>
                </a:cubicBezTo>
                <a:cubicBezTo>
                  <a:pt x="336" y="54"/>
                  <a:pt x="338" y="54"/>
                  <a:pt x="339" y="54"/>
                </a:cubicBezTo>
                <a:close/>
                <a:moveTo>
                  <a:pt x="263" y="56"/>
                </a:move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5"/>
                </a:cubicBezTo>
                <a:cubicBezTo>
                  <a:pt x="265" y="56"/>
                  <a:pt x="264" y="56"/>
                  <a:pt x="263" y="56"/>
                </a:cubicBezTo>
                <a:close/>
                <a:moveTo>
                  <a:pt x="264" y="52"/>
                </a:moveTo>
                <a:cubicBezTo>
                  <a:pt x="264" y="52"/>
                  <a:pt x="264" y="52"/>
                  <a:pt x="264" y="52"/>
                </a:cubicBezTo>
                <a:cubicBezTo>
                  <a:pt x="264" y="52"/>
                  <a:pt x="263" y="52"/>
                  <a:pt x="263" y="52"/>
                </a:cubicBezTo>
                <a:cubicBezTo>
                  <a:pt x="263" y="52"/>
                  <a:pt x="264" y="52"/>
                  <a:pt x="264" y="52"/>
                </a:cubicBezTo>
                <a:close/>
                <a:moveTo>
                  <a:pt x="261" y="53"/>
                </a:moveTo>
                <a:cubicBezTo>
                  <a:pt x="261" y="52"/>
                  <a:pt x="261" y="52"/>
                  <a:pt x="260" y="52"/>
                </a:cubicBezTo>
                <a:cubicBezTo>
                  <a:pt x="260" y="53"/>
                  <a:pt x="259" y="53"/>
                  <a:pt x="259" y="53"/>
                </a:cubicBezTo>
                <a:cubicBezTo>
                  <a:pt x="259" y="53"/>
                  <a:pt x="260" y="53"/>
                  <a:pt x="260" y="53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61" y="53"/>
                  <a:pt x="261" y="53"/>
                  <a:pt x="262" y="52"/>
                </a:cubicBezTo>
                <a:cubicBezTo>
                  <a:pt x="262" y="52"/>
                  <a:pt x="262" y="52"/>
                  <a:pt x="262" y="52"/>
                </a:cubicBezTo>
                <a:cubicBezTo>
                  <a:pt x="262" y="52"/>
                  <a:pt x="263" y="52"/>
                  <a:pt x="263" y="52"/>
                </a:cubicBezTo>
                <a:cubicBezTo>
                  <a:pt x="262" y="52"/>
                  <a:pt x="262" y="52"/>
                  <a:pt x="261" y="53"/>
                </a:cubicBezTo>
                <a:close/>
                <a:moveTo>
                  <a:pt x="262" y="59"/>
                </a:moveTo>
                <a:cubicBezTo>
                  <a:pt x="262" y="59"/>
                  <a:pt x="262" y="59"/>
                  <a:pt x="262" y="59"/>
                </a:cubicBezTo>
                <a:cubicBezTo>
                  <a:pt x="262" y="59"/>
                  <a:pt x="262" y="59"/>
                  <a:pt x="262" y="59"/>
                </a:cubicBezTo>
                <a:close/>
                <a:moveTo>
                  <a:pt x="500" y="148"/>
                </a:moveTo>
                <a:cubicBezTo>
                  <a:pt x="498" y="158"/>
                  <a:pt x="496" y="166"/>
                  <a:pt x="494" y="169"/>
                </a:cubicBezTo>
                <a:cubicBezTo>
                  <a:pt x="493" y="172"/>
                  <a:pt x="495" y="168"/>
                  <a:pt x="494" y="170"/>
                </a:cubicBezTo>
                <a:cubicBezTo>
                  <a:pt x="493" y="174"/>
                  <a:pt x="490" y="181"/>
                  <a:pt x="488" y="184"/>
                </a:cubicBezTo>
                <a:cubicBezTo>
                  <a:pt x="486" y="189"/>
                  <a:pt x="483" y="194"/>
                  <a:pt x="480" y="199"/>
                </a:cubicBezTo>
                <a:cubicBezTo>
                  <a:pt x="478" y="202"/>
                  <a:pt x="477" y="204"/>
                  <a:pt x="475" y="206"/>
                </a:cubicBezTo>
                <a:cubicBezTo>
                  <a:pt x="470" y="212"/>
                  <a:pt x="470" y="212"/>
                  <a:pt x="470" y="212"/>
                </a:cubicBezTo>
                <a:cubicBezTo>
                  <a:pt x="469" y="214"/>
                  <a:pt x="466" y="216"/>
                  <a:pt x="465" y="217"/>
                </a:cubicBezTo>
                <a:cubicBezTo>
                  <a:pt x="462" y="221"/>
                  <a:pt x="456" y="228"/>
                  <a:pt x="452" y="232"/>
                </a:cubicBezTo>
                <a:cubicBezTo>
                  <a:pt x="438" y="245"/>
                  <a:pt x="422" y="256"/>
                  <a:pt x="405" y="264"/>
                </a:cubicBezTo>
                <a:cubicBezTo>
                  <a:pt x="387" y="272"/>
                  <a:pt x="369" y="278"/>
                  <a:pt x="351" y="284"/>
                </a:cubicBezTo>
                <a:cubicBezTo>
                  <a:pt x="314" y="295"/>
                  <a:pt x="277" y="301"/>
                  <a:pt x="239" y="304"/>
                </a:cubicBezTo>
                <a:cubicBezTo>
                  <a:pt x="221" y="305"/>
                  <a:pt x="200" y="305"/>
                  <a:pt x="183" y="305"/>
                </a:cubicBezTo>
                <a:cubicBezTo>
                  <a:pt x="177" y="304"/>
                  <a:pt x="172" y="304"/>
                  <a:pt x="167" y="304"/>
                </a:cubicBezTo>
                <a:cubicBezTo>
                  <a:pt x="155" y="303"/>
                  <a:pt x="142" y="302"/>
                  <a:pt x="129" y="301"/>
                </a:cubicBezTo>
                <a:cubicBezTo>
                  <a:pt x="116" y="299"/>
                  <a:pt x="103" y="298"/>
                  <a:pt x="93" y="296"/>
                </a:cubicBezTo>
                <a:cubicBezTo>
                  <a:pt x="77" y="292"/>
                  <a:pt x="61" y="288"/>
                  <a:pt x="45" y="280"/>
                </a:cubicBezTo>
                <a:cubicBezTo>
                  <a:pt x="38" y="277"/>
                  <a:pt x="32" y="273"/>
                  <a:pt x="27" y="269"/>
                </a:cubicBezTo>
                <a:cubicBezTo>
                  <a:pt x="24" y="268"/>
                  <a:pt x="22" y="266"/>
                  <a:pt x="20" y="264"/>
                </a:cubicBezTo>
                <a:cubicBezTo>
                  <a:pt x="11" y="256"/>
                  <a:pt x="4" y="244"/>
                  <a:pt x="2" y="232"/>
                </a:cubicBezTo>
                <a:cubicBezTo>
                  <a:pt x="1" y="225"/>
                  <a:pt x="0" y="219"/>
                  <a:pt x="0" y="213"/>
                </a:cubicBezTo>
                <a:cubicBezTo>
                  <a:pt x="0" y="203"/>
                  <a:pt x="2" y="191"/>
                  <a:pt x="6" y="180"/>
                </a:cubicBezTo>
                <a:cubicBezTo>
                  <a:pt x="10" y="169"/>
                  <a:pt x="16" y="158"/>
                  <a:pt x="22" y="148"/>
                </a:cubicBezTo>
                <a:cubicBezTo>
                  <a:pt x="25" y="143"/>
                  <a:pt x="29" y="139"/>
                  <a:pt x="32" y="134"/>
                </a:cubicBezTo>
                <a:cubicBezTo>
                  <a:pt x="34" y="132"/>
                  <a:pt x="36" y="130"/>
                  <a:pt x="38" y="127"/>
                </a:cubicBezTo>
                <a:cubicBezTo>
                  <a:pt x="44" y="119"/>
                  <a:pt x="54" y="109"/>
                  <a:pt x="61" y="102"/>
                </a:cubicBezTo>
                <a:cubicBezTo>
                  <a:pt x="65" y="98"/>
                  <a:pt x="69" y="95"/>
                  <a:pt x="74" y="91"/>
                </a:cubicBezTo>
                <a:cubicBezTo>
                  <a:pt x="83" y="83"/>
                  <a:pt x="92" y="76"/>
                  <a:pt x="100" y="70"/>
                </a:cubicBezTo>
                <a:cubicBezTo>
                  <a:pt x="111" y="62"/>
                  <a:pt x="128" y="52"/>
                  <a:pt x="143" y="45"/>
                </a:cubicBezTo>
                <a:cubicBezTo>
                  <a:pt x="144" y="44"/>
                  <a:pt x="144" y="44"/>
                  <a:pt x="144" y="44"/>
                </a:cubicBezTo>
                <a:cubicBezTo>
                  <a:pt x="155" y="39"/>
                  <a:pt x="166" y="33"/>
                  <a:pt x="177" y="29"/>
                </a:cubicBezTo>
                <a:cubicBezTo>
                  <a:pt x="179" y="29"/>
                  <a:pt x="179" y="29"/>
                  <a:pt x="180" y="28"/>
                </a:cubicBezTo>
                <a:cubicBezTo>
                  <a:pt x="194" y="23"/>
                  <a:pt x="194" y="23"/>
                  <a:pt x="194" y="23"/>
                </a:cubicBezTo>
                <a:cubicBezTo>
                  <a:pt x="215" y="16"/>
                  <a:pt x="231" y="12"/>
                  <a:pt x="249" y="9"/>
                </a:cubicBezTo>
                <a:cubicBezTo>
                  <a:pt x="259" y="6"/>
                  <a:pt x="271" y="5"/>
                  <a:pt x="281" y="3"/>
                </a:cubicBezTo>
                <a:cubicBezTo>
                  <a:pt x="284" y="3"/>
                  <a:pt x="287" y="2"/>
                  <a:pt x="290" y="2"/>
                </a:cubicBezTo>
                <a:cubicBezTo>
                  <a:pt x="293" y="2"/>
                  <a:pt x="295" y="2"/>
                  <a:pt x="297" y="1"/>
                </a:cubicBezTo>
                <a:cubicBezTo>
                  <a:pt x="304" y="1"/>
                  <a:pt x="304" y="1"/>
                  <a:pt x="304" y="1"/>
                </a:cubicBezTo>
                <a:cubicBezTo>
                  <a:pt x="307" y="1"/>
                  <a:pt x="311" y="0"/>
                  <a:pt x="314" y="0"/>
                </a:cubicBezTo>
                <a:cubicBezTo>
                  <a:pt x="318" y="0"/>
                  <a:pt x="321" y="0"/>
                  <a:pt x="324" y="0"/>
                </a:cubicBezTo>
                <a:cubicBezTo>
                  <a:pt x="327" y="0"/>
                  <a:pt x="331" y="0"/>
                  <a:pt x="334" y="0"/>
                </a:cubicBezTo>
                <a:cubicBezTo>
                  <a:pt x="343" y="0"/>
                  <a:pt x="351" y="0"/>
                  <a:pt x="361" y="1"/>
                </a:cubicBezTo>
                <a:cubicBezTo>
                  <a:pt x="368" y="2"/>
                  <a:pt x="376" y="2"/>
                  <a:pt x="384" y="4"/>
                </a:cubicBezTo>
                <a:cubicBezTo>
                  <a:pt x="389" y="4"/>
                  <a:pt x="394" y="5"/>
                  <a:pt x="398" y="6"/>
                </a:cubicBezTo>
                <a:cubicBezTo>
                  <a:pt x="400" y="7"/>
                  <a:pt x="403" y="8"/>
                  <a:pt x="405" y="8"/>
                </a:cubicBezTo>
                <a:cubicBezTo>
                  <a:pt x="408" y="9"/>
                  <a:pt x="410" y="10"/>
                  <a:pt x="413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6" y="11"/>
                  <a:pt x="416" y="11"/>
                  <a:pt x="416" y="12"/>
                </a:cubicBezTo>
                <a:cubicBezTo>
                  <a:pt x="417" y="12"/>
                  <a:pt x="419" y="13"/>
                  <a:pt x="420" y="12"/>
                </a:cubicBezTo>
                <a:cubicBezTo>
                  <a:pt x="420" y="12"/>
                  <a:pt x="420" y="12"/>
                  <a:pt x="420" y="12"/>
                </a:cubicBezTo>
                <a:cubicBezTo>
                  <a:pt x="421" y="12"/>
                  <a:pt x="421" y="12"/>
                  <a:pt x="421" y="12"/>
                </a:cubicBezTo>
                <a:cubicBezTo>
                  <a:pt x="421" y="13"/>
                  <a:pt x="422" y="13"/>
                  <a:pt x="423" y="13"/>
                </a:cubicBezTo>
                <a:cubicBezTo>
                  <a:pt x="423" y="13"/>
                  <a:pt x="423" y="13"/>
                  <a:pt x="423" y="13"/>
                </a:cubicBezTo>
                <a:cubicBezTo>
                  <a:pt x="424" y="13"/>
                  <a:pt x="424" y="14"/>
                  <a:pt x="424" y="14"/>
                </a:cubicBezTo>
                <a:cubicBezTo>
                  <a:pt x="425" y="14"/>
                  <a:pt x="425" y="14"/>
                  <a:pt x="425" y="14"/>
                </a:cubicBezTo>
                <a:cubicBezTo>
                  <a:pt x="426" y="14"/>
                  <a:pt x="426" y="14"/>
                  <a:pt x="426" y="15"/>
                </a:cubicBezTo>
                <a:cubicBezTo>
                  <a:pt x="426" y="15"/>
                  <a:pt x="426" y="15"/>
                  <a:pt x="426" y="15"/>
                </a:cubicBezTo>
                <a:cubicBezTo>
                  <a:pt x="426" y="15"/>
                  <a:pt x="427" y="16"/>
                  <a:pt x="428" y="16"/>
                </a:cubicBezTo>
                <a:cubicBezTo>
                  <a:pt x="428" y="17"/>
                  <a:pt x="429" y="17"/>
                  <a:pt x="429" y="17"/>
                </a:cubicBezTo>
                <a:cubicBezTo>
                  <a:pt x="430" y="17"/>
                  <a:pt x="430" y="19"/>
                  <a:pt x="431" y="19"/>
                </a:cubicBezTo>
                <a:cubicBezTo>
                  <a:pt x="430" y="20"/>
                  <a:pt x="431" y="20"/>
                  <a:pt x="431" y="20"/>
                </a:cubicBezTo>
                <a:cubicBezTo>
                  <a:pt x="431" y="20"/>
                  <a:pt x="431" y="21"/>
                  <a:pt x="431" y="21"/>
                </a:cubicBezTo>
                <a:cubicBezTo>
                  <a:pt x="431" y="21"/>
                  <a:pt x="431" y="22"/>
                  <a:pt x="431" y="22"/>
                </a:cubicBezTo>
                <a:cubicBezTo>
                  <a:pt x="431" y="22"/>
                  <a:pt x="431" y="23"/>
                  <a:pt x="431" y="23"/>
                </a:cubicBezTo>
                <a:cubicBezTo>
                  <a:pt x="431" y="23"/>
                  <a:pt x="432" y="24"/>
                  <a:pt x="432" y="24"/>
                </a:cubicBezTo>
                <a:cubicBezTo>
                  <a:pt x="432" y="25"/>
                  <a:pt x="431" y="25"/>
                  <a:pt x="431" y="26"/>
                </a:cubicBezTo>
                <a:cubicBezTo>
                  <a:pt x="431" y="27"/>
                  <a:pt x="430" y="28"/>
                  <a:pt x="430" y="29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29" y="29"/>
                  <a:pt x="429" y="30"/>
                  <a:pt x="428" y="30"/>
                </a:cubicBezTo>
                <a:cubicBezTo>
                  <a:pt x="428" y="30"/>
                  <a:pt x="428" y="30"/>
                  <a:pt x="428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26" y="31"/>
                  <a:pt x="424" y="32"/>
                  <a:pt x="423" y="32"/>
                </a:cubicBezTo>
                <a:cubicBezTo>
                  <a:pt x="423" y="32"/>
                  <a:pt x="423" y="32"/>
                  <a:pt x="423" y="32"/>
                </a:cubicBezTo>
                <a:cubicBezTo>
                  <a:pt x="422" y="32"/>
                  <a:pt x="422" y="32"/>
                  <a:pt x="421" y="32"/>
                </a:cubicBezTo>
                <a:cubicBezTo>
                  <a:pt x="421" y="33"/>
                  <a:pt x="420" y="32"/>
                  <a:pt x="420" y="32"/>
                </a:cubicBezTo>
                <a:cubicBezTo>
                  <a:pt x="420" y="32"/>
                  <a:pt x="419" y="32"/>
                  <a:pt x="419" y="32"/>
                </a:cubicBezTo>
                <a:cubicBezTo>
                  <a:pt x="419" y="32"/>
                  <a:pt x="418" y="32"/>
                  <a:pt x="418" y="32"/>
                </a:cubicBezTo>
                <a:cubicBezTo>
                  <a:pt x="417" y="32"/>
                  <a:pt x="417" y="31"/>
                  <a:pt x="416" y="31"/>
                </a:cubicBezTo>
                <a:cubicBezTo>
                  <a:pt x="416" y="31"/>
                  <a:pt x="416" y="31"/>
                  <a:pt x="416" y="31"/>
                </a:cubicBezTo>
                <a:cubicBezTo>
                  <a:pt x="415" y="31"/>
                  <a:pt x="415" y="30"/>
                  <a:pt x="415" y="30"/>
                </a:cubicBezTo>
                <a:cubicBezTo>
                  <a:pt x="415" y="30"/>
                  <a:pt x="415" y="30"/>
                  <a:pt x="414" y="30"/>
                </a:cubicBezTo>
                <a:cubicBezTo>
                  <a:pt x="414" y="29"/>
                  <a:pt x="415" y="29"/>
                  <a:pt x="414" y="29"/>
                </a:cubicBezTo>
                <a:cubicBezTo>
                  <a:pt x="414" y="28"/>
                  <a:pt x="413" y="30"/>
                  <a:pt x="413" y="29"/>
                </a:cubicBezTo>
                <a:cubicBezTo>
                  <a:pt x="413" y="28"/>
                  <a:pt x="412" y="28"/>
                  <a:pt x="411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08" y="26"/>
                  <a:pt x="408" y="26"/>
                  <a:pt x="408" y="26"/>
                </a:cubicBezTo>
                <a:cubicBezTo>
                  <a:pt x="407" y="26"/>
                  <a:pt x="407" y="26"/>
                  <a:pt x="407" y="26"/>
                </a:cubicBezTo>
                <a:cubicBezTo>
                  <a:pt x="399" y="23"/>
                  <a:pt x="390" y="21"/>
                  <a:pt x="383" y="20"/>
                </a:cubicBezTo>
                <a:cubicBezTo>
                  <a:pt x="376" y="19"/>
                  <a:pt x="370" y="18"/>
                  <a:pt x="363" y="17"/>
                </a:cubicBezTo>
                <a:cubicBezTo>
                  <a:pt x="342" y="15"/>
                  <a:pt x="321" y="16"/>
                  <a:pt x="300" y="17"/>
                </a:cubicBezTo>
                <a:cubicBezTo>
                  <a:pt x="288" y="18"/>
                  <a:pt x="273" y="20"/>
                  <a:pt x="262" y="22"/>
                </a:cubicBezTo>
                <a:cubicBezTo>
                  <a:pt x="249" y="24"/>
                  <a:pt x="236" y="27"/>
                  <a:pt x="224" y="30"/>
                </a:cubicBezTo>
                <a:cubicBezTo>
                  <a:pt x="217" y="32"/>
                  <a:pt x="210" y="34"/>
                  <a:pt x="203" y="36"/>
                </a:cubicBezTo>
                <a:cubicBezTo>
                  <a:pt x="196" y="38"/>
                  <a:pt x="196" y="38"/>
                  <a:pt x="196" y="38"/>
                </a:cubicBezTo>
                <a:cubicBezTo>
                  <a:pt x="190" y="41"/>
                  <a:pt x="183" y="43"/>
                  <a:pt x="176" y="46"/>
                </a:cubicBezTo>
                <a:cubicBezTo>
                  <a:pt x="170" y="49"/>
                  <a:pt x="164" y="51"/>
                  <a:pt x="157" y="54"/>
                </a:cubicBezTo>
                <a:cubicBezTo>
                  <a:pt x="148" y="58"/>
                  <a:pt x="138" y="64"/>
                  <a:pt x="127" y="70"/>
                </a:cubicBezTo>
                <a:cubicBezTo>
                  <a:pt x="117" y="77"/>
                  <a:pt x="106" y="84"/>
                  <a:pt x="96" y="92"/>
                </a:cubicBezTo>
                <a:cubicBezTo>
                  <a:pt x="93" y="94"/>
                  <a:pt x="93" y="94"/>
                  <a:pt x="93" y="94"/>
                </a:cubicBezTo>
                <a:cubicBezTo>
                  <a:pt x="80" y="104"/>
                  <a:pt x="69" y="115"/>
                  <a:pt x="59" y="125"/>
                </a:cubicBezTo>
                <a:cubicBezTo>
                  <a:pt x="47" y="138"/>
                  <a:pt x="34" y="155"/>
                  <a:pt x="26" y="171"/>
                </a:cubicBezTo>
                <a:cubicBezTo>
                  <a:pt x="19" y="186"/>
                  <a:pt x="14" y="201"/>
                  <a:pt x="14" y="217"/>
                </a:cubicBezTo>
                <a:cubicBezTo>
                  <a:pt x="15" y="222"/>
                  <a:pt x="15" y="229"/>
                  <a:pt x="17" y="234"/>
                </a:cubicBezTo>
                <a:cubicBezTo>
                  <a:pt x="19" y="239"/>
                  <a:pt x="22" y="244"/>
                  <a:pt x="26" y="249"/>
                </a:cubicBezTo>
                <a:cubicBezTo>
                  <a:pt x="28" y="252"/>
                  <a:pt x="31" y="255"/>
                  <a:pt x="35" y="258"/>
                </a:cubicBezTo>
                <a:cubicBezTo>
                  <a:pt x="40" y="261"/>
                  <a:pt x="45" y="264"/>
                  <a:pt x="51" y="267"/>
                </a:cubicBezTo>
                <a:cubicBezTo>
                  <a:pt x="61" y="272"/>
                  <a:pt x="72" y="276"/>
                  <a:pt x="84" y="279"/>
                </a:cubicBezTo>
                <a:cubicBezTo>
                  <a:pt x="95" y="282"/>
                  <a:pt x="106" y="284"/>
                  <a:pt x="117" y="285"/>
                </a:cubicBezTo>
                <a:cubicBezTo>
                  <a:pt x="121" y="286"/>
                  <a:pt x="125" y="286"/>
                  <a:pt x="129" y="287"/>
                </a:cubicBezTo>
                <a:cubicBezTo>
                  <a:pt x="131" y="287"/>
                  <a:pt x="134" y="287"/>
                  <a:pt x="137" y="287"/>
                </a:cubicBezTo>
                <a:cubicBezTo>
                  <a:pt x="150" y="289"/>
                  <a:pt x="168" y="290"/>
                  <a:pt x="184" y="291"/>
                </a:cubicBezTo>
                <a:cubicBezTo>
                  <a:pt x="206" y="291"/>
                  <a:pt x="227" y="291"/>
                  <a:pt x="251" y="289"/>
                </a:cubicBezTo>
                <a:cubicBezTo>
                  <a:pt x="268" y="287"/>
                  <a:pt x="287" y="285"/>
                  <a:pt x="306" y="281"/>
                </a:cubicBezTo>
                <a:cubicBezTo>
                  <a:pt x="331" y="276"/>
                  <a:pt x="357" y="268"/>
                  <a:pt x="381" y="259"/>
                </a:cubicBezTo>
                <a:cubicBezTo>
                  <a:pt x="395" y="254"/>
                  <a:pt x="407" y="248"/>
                  <a:pt x="419" y="241"/>
                </a:cubicBezTo>
                <a:cubicBezTo>
                  <a:pt x="430" y="233"/>
                  <a:pt x="440" y="224"/>
                  <a:pt x="449" y="215"/>
                </a:cubicBezTo>
                <a:cubicBezTo>
                  <a:pt x="450" y="214"/>
                  <a:pt x="451" y="213"/>
                  <a:pt x="453" y="211"/>
                </a:cubicBezTo>
                <a:cubicBezTo>
                  <a:pt x="455" y="209"/>
                  <a:pt x="454" y="210"/>
                  <a:pt x="456" y="207"/>
                </a:cubicBezTo>
                <a:cubicBezTo>
                  <a:pt x="458" y="205"/>
                  <a:pt x="457" y="207"/>
                  <a:pt x="458" y="205"/>
                </a:cubicBezTo>
                <a:cubicBezTo>
                  <a:pt x="464" y="198"/>
                  <a:pt x="464" y="198"/>
                  <a:pt x="464" y="198"/>
                </a:cubicBezTo>
                <a:cubicBezTo>
                  <a:pt x="465" y="197"/>
                  <a:pt x="466" y="196"/>
                  <a:pt x="467" y="195"/>
                </a:cubicBezTo>
                <a:cubicBezTo>
                  <a:pt x="467" y="194"/>
                  <a:pt x="468" y="193"/>
                  <a:pt x="469" y="192"/>
                </a:cubicBezTo>
                <a:cubicBezTo>
                  <a:pt x="472" y="187"/>
                  <a:pt x="475" y="182"/>
                  <a:pt x="477" y="177"/>
                </a:cubicBezTo>
                <a:cubicBezTo>
                  <a:pt x="482" y="167"/>
                  <a:pt x="486" y="156"/>
                  <a:pt x="487" y="146"/>
                </a:cubicBezTo>
                <a:cubicBezTo>
                  <a:pt x="487" y="143"/>
                  <a:pt x="487" y="146"/>
                  <a:pt x="488" y="144"/>
                </a:cubicBezTo>
                <a:cubicBezTo>
                  <a:pt x="488" y="142"/>
                  <a:pt x="488" y="141"/>
                  <a:pt x="487" y="139"/>
                </a:cubicBezTo>
                <a:cubicBezTo>
                  <a:pt x="487" y="137"/>
                  <a:pt x="487" y="136"/>
                  <a:pt x="487" y="134"/>
                </a:cubicBezTo>
                <a:cubicBezTo>
                  <a:pt x="487" y="130"/>
                  <a:pt x="486" y="126"/>
                  <a:pt x="485" y="123"/>
                </a:cubicBezTo>
                <a:cubicBezTo>
                  <a:pt x="483" y="115"/>
                  <a:pt x="480" y="108"/>
                  <a:pt x="475" y="103"/>
                </a:cubicBezTo>
                <a:cubicBezTo>
                  <a:pt x="472" y="98"/>
                  <a:pt x="467" y="94"/>
                  <a:pt x="462" y="91"/>
                </a:cubicBezTo>
                <a:cubicBezTo>
                  <a:pt x="460" y="90"/>
                  <a:pt x="461" y="90"/>
                  <a:pt x="460" y="90"/>
                </a:cubicBezTo>
                <a:cubicBezTo>
                  <a:pt x="458" y="89"/>
                  <a:pt x="459" y="89"/>
                  <a:pt x="458" y="88"/>
                </a:cubicBezTo>
                <a:cubicBezTo>
                  <a:pt x="456" y="87"/>
                  <a:pt x="456" y="87"/>
                  <a:pt x="456" y="87"/>
                </a:cubicBezTo>
                <a:cubicBezTo>
                  <a:pt x="453" y="86"/>
                  <a:pt x="453" y="86"/>
                  <a:pt x="453" y="86"/>
                </a:cubicBezTo>
                <a:cubicBezTo>
                  <a:pt x="439" y="78"/>
                  <a:pt x="424" y="72"/>
                  <a:pt x="409" y="67"/>
                </a:cubicBezTo>
                <a:cubicBezTo>
                  <a:pt x="406" y="66"/>
                  <a:pt x="406" y="66"/>
                  <a:pt x="402" y="64"/>
                </a:cubicBezTo>
                <a:cubicBezTo>
                  <a:pt x="398" y="63"/>
                  <a:pt x="399" y="63"/>
                  <a:pt x="396" y="63"/>
                </a:cubicBezTo>
                <a:cubicBezTo>
                  <a:pt x="395" y="63"/>
                  <a:pt x="392" y="61"/>
                  <a:pt x="391" y="61"/>
                </a:cubicBezTo>
                <a:cubicBezTo>
                  <a:pt x="390" y="61"/>
                  <a:pt x="391" y="61"/>
                  <a:pt x="391" y="61"/>
                </a:cubicBezTo>
                <a:cubicBezTo>
                  <a:pt x="388" y="60"/>
                  <a:pt x="378" y="58"/>
                  <a:pt x="373" y="57"/>
                </a:cubicBezTo>
                <a:cubicBezTo>
                  <a:pt x="366" y="56"/>
                  <a:pt x="358" y="54"/>
                  <a:pt x="350" y="53"/>
                </a:cubicBezTo>
                <a:cubicBezTo>
                  <a:pt x="358" y="54"/>
                  <a:pt x="365" y="55"/>
                  <a:pt x="367" y="55"/>
                </a:cubicBezTo>
                <a:cubicBezTo>
                  <a:pt x="359" y="53"/>
                  <a:pt x="344" y="52"/>
                  <a:pt x="336" y="51"/>
                </a:cubicBezTo>
                <a:cubicBezTo>
                  <a:pt x="318" y="50"/>
                  <a:pt x="294" y="52"/>
                  <a:pt x="273" y="56"/>
                </a:cubicBezTo>
                <a:cubicBezTo>
                  <a:pt x="272" y="56"/>
                  <a:pt x="271" y="56"/>
                  <a:pt x="271" y="56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4" y="58"/>
                  <a:pt x="263" y="58"/>
                  <a:pt x="262" y="58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7" y="57"/>
                  <a:pt x="267" y="57"/>
                  <a:pt x="267" y="57"/>
                </a:cubicBezTo>
                <a:cubicBezTo>
                  <a:pt x="288" y="53"/>
                  <a:pt x="309" y="50"/>
                  <a:pt x="330" y="51"/>
                </a:cubicBezTo>
                <a:cubicBezTo>
                  <a:pt x="335" y="51"/>
                  <a:pt x="343" y="51"/>
                  <a:pt x="352" y="52"/>
                </a:cubicBezTo>
                <a:cubicBezTo>
                  <a:pt x="362" y="53"/>
                  <a:pt x="371" y="55"/>
                  <a:pt x="378" y="57"/>
                </a:cubicBezTo>
                <a:cubicBezTo>
                  <a:pt x="387" y="58"/>
                  <a:pt x="391" y="59"/>
                  <a:pt x="387" y="58"/>
                </a:cubicBezTo>
                <a:cubicBezTo>
                  <a:pt x="376" y="55"/>
                  <a:pt x="367" y="53"/>
                  <a:pt x="356" y="52"/>
                </a:cubicBezTo>
                <a:cubicBezTo>
                  <a:pt x="354" y="51"/>
                  <a:pt x="352" y="51"/>
                  <a:pt x="355" y="51"/>
                </a:cubicBezTo>
                <a:cubicBezTo>
                  <a:pt x="377" y="53"/>
                  <a:pt x="401" y="60"/>
                  <a:pt x="418" y="66"/>
                </a:cubicBezTo>
                <a:cubicBezTo>
                  <a:pt x="428" y="70"/>
                  <a:pt x="428" y="70"/>
                  <a:pt x="428" y="70"/>
                </a:cubicBezTo>
                <a:cubicBezTo>
                  <a:pt x="430" y="70"/>
                  <a:pt x="431" y="71"/>
                  <a:pt x="432" y="71"/>
                </a:cubicBezTo>
                <a:cubicBezTo>
                  <a:pt x="432" y="71"/>
                  <a:pt x="430" y="70"/>
                  <a:pt x="430" y="70"/>
                </a:cubicBezTo>
                <a:cubicBezTo>
                  <a:pt x="411" y="62"/>
                  <a:pt x="395" y="56"/>
                  <a:pt x="374" y="52"/>
                </a:cubicBezTo>
                <a:cubicBezTo>
                  <a:pt x="371" y="51"/>
                  <a:pt x="368" y="51"/>
                  <a:pt x="365" y="50"/>
                </a:cubicBezTo>
                <a:cubicBezTo>
                  <a:pt x="358" y="49"/>
                  <a:pt x="347" y="48"/>
                  <a:pt x="338" y="47"/>
                </a:cubicBezTo>
                <a:cubicBezTo>
                  <a:pt x="336" y="47"/>
                  <a:pt x="337" y="47"/>
                  <a:pt x="336" y="47"/>
                </a:cubicBezTo>
                <a:cubicBezTo>
                  <a:pt x="315" y="46"/>
                  <a:pt x="296" y="48"/>
                  <a:pt x="277" y="51"/>
                </a:cubicBezTo>
                <a:cubicBezTo>
                  <a:pt x="293" y="48"/>
                  <a:pt x="310" y="47"/>
                  <a:pt x="325" y="47"/>
                </a:cubicBezTo>
                <a:cubicBezTo>
                  <a:pt x="327" y="47"/>
                  <a:pt x="328" y="46"/>
                  <a:pt x="330" y="46"/>
                </a:cubicBezTo>
                <a:cubicBezTo>
                  <a:pt x="343" y="47"/>
                  <a:pt x="363" y="49"/>
                  <a:pt x="379" y="52"/>
                </a:cubicBezTo>
                <a:cubicBezTo>
                  <a:pt x="381" y="52"/>
                  <a:pt x="382" y="52"/>
                  <a:pt x="375" y="51"/>
                </a:cubicBezTo>
                <a:cubicBezTo>
                  <a:pt x="377" y="51"/>
                  <a:pt x="378" y="51"/>
                  <a:pt x="381" y="52"/>
                </a:cubicBezTo>
                <a:cubicBezTo>
                  <a:pt x="381" y="52"/>
                  <a:pt x="380" y="52"/>
                  <a:pt x="379" y="52"/>
                </a:cubicBezTo>
                <a:cubicBezTo>
                  <a:pt x="388" y="53"/>
                  <a:pt x="389" y="54"/>
                  <a:pt x="398" y="56"/>
                </a:cubicBezTo>
                <a:cubicBezTo>
                  <a:pt x="399" y="56"/>
                  <a:pt x="400" y="56"/>
                  <a:pt x="399" y="56"/>
                </a:cubicBezTo>
                <a:cubicBezTo>
                  <a:pt x="392" y="54"/>
                  <a:pt x="385" y="52"/>
                  <a:pt x="379" y="51"/>
                </a:cubicBezTo>
                <a:cubicBezTo>
                  <a:pt x="375" y="50"/>
                  <a:pt x="372" y="50"/>
                  <a:pt x="369" y="49"/>
                </a:cubicBezTo>
                <a:cubicBezTo>
                  <a:pt x="367" y="49"/>
                  <a:pt x="367" y="49"/>
                  <a:pt x="365" y="48"/>
                </a:cubicBezTo>
                <a:cubicBezTo>
                  <a:pt x="363" y="48"/>
                  <a:pt x="360" y="48"/>
                  <a:pt x="358" y="48"/>
                </a:cubicBezTo>
                <a:cubicBezTo>
                  <a:pt x="353" y="47"/>
                  <a:pt x="353" y="47"/>
                  <a:pt x="353" y="47"/>
                </a:cubicBezTo>
                <a:cubicBezTo>
                  <a:pt x="345" y="46"/>
                  <a:pt x="336" y="46"/>
                  <a:pt x="327" y="45"/>
                </a:cubicBezTo>
                <a:cubicBezTo>
                  <a:pt x="321" y="45"/>
                  <a:pt x="314" y="45"/>
                  <a:pt x="307" y="46"/>
                </a:cubicBezTo>
                <a:cubicBezTo>
                  <a:pt x="310" y="45"/>
                  <a:pt x="315" y="45"/>
                  <a:pt x="320" y="45"/>
                </a:cubicBezTo>
                <a:cubicBezTo>
                  <a:pt x="337" y="45"/>
                  <a:pt x="357" y="46"/>
                  <a:pt x="371" y="49"/>
                </a:cubicBezTo>
                <a:cubicBezTo>
                  <a:pt x="372" y="49"/>
                  <a:pt x="369" y="48"/>
                  <a:pt x="368" y="48"/>
                </a:cubicBezTo>
                <a:cubicBezTo>
                  <a:pt x="363" y="47"/>
                  <a:pt x="360" y="47"/>
                  <a:pt x="356" y="46"/>
                </a:cubicBezTo>
                <a:cubicBezTo>
                  <a:pt x="354" y="46"/>
                  <a:pt x="357" y="46"/>
                  <a:pt x="355" y="46"/>
                </a:cubicBezTo>
                <a:cubicBezTo>
                  <a:pt x="345" y="45"/>
                  <a:pt x="335" y="45"/>
                  <a:pt x="323" y="45"/>
                </a:cubicBezTo>
                <a:cubicBezTo>
                  <a:pt x="322" y="44"/>
                  <a:pt x="319" y="44"/>
                  <a:pt x="321" y="44"/>
                </a:cubicBezTo>
                <a:cubicBezTo>
                  <a:pt x="319" y="44"/>
                  <a:pt x="319" y="44"/>
                  <a:pt x="317" y="44"/>
                </a:cubicBezTo>
                <a:cubicBezTo>
                  <a:pt x="314" y="44"/>
                  <a:pt x="318" y="44"/>
                  <a:pt x="317" y="44"/>
                </a:cubicBezTo>
                <a:cubicBezTo>
                  <a:pt x="314" y="44"/>
                  <a:pt x="310" y="45"/>
                  <a:pt x="308" y="45"/>
                </a:cubicBezTo>
                <a:cubicBezTo>
                  <a:pt x="294" y="46"/>
                  <a:pt x="282" y="47"/>
                  <a:pt x="266" y="50"/>
                </a:cubicBezTo>
                <a:cubicBezTo>
                  <a:pt x="276" y="48"/>
                  <a:pt x="290" y="46"/>
                  <a:pt x="305" y="45"/>
                </a:cubicBezTo>
                <a:cubicBezTo>
                  <a:pt x="308" y="44"/>
                  <a:pt x="304" y="45"/>
                  <a:pt x="307" y="44"/>
                </a:cubicBezTo>
                <a:cubicBezTo>
                  <a:pt x="311" y="44"/>
                  <a:pt x="314" y="44"/>
                  <a:pt x="318" y="44"/>
                </a:cubicBezTo>
                <a:cubicBezTo>
                  <a:pt x="328" y="44"/>
                  <a:pt x="328" y="44"/>
                  <a:pt x="328" y="44"/>
                </a:cubicBezTo>
                <a:cubicBezTo>
                  <a:pt x="333" y="44"/>
                  <a:pt x="338" y="44"/>
                  <a:pt x="343" y="44"/>
                </a:cubicBezTo>
                <a:cubicBezTo>
                  <a:pt x="348" y="45"/>
                  <a:pt x="351" y="45"/>
                  <a:pt x="356" y="45"/>
                </a:cubicBezTo>
                <a:cubicBezTo>
                  <a:pt x="358" y="46"/>
                  <a:pt x="358" y="45"/>
                  <a:pt x="361" y="46"/>
                </a:cubicBezTo>
                <a:cubicBezTo>
                  <a:pt x="362" y="46"/>
                  <a:pt x="357" y="45"/>
                  <a:pt x="360" y="45"/>
                </a:cubicBezTo>
                <a:cubicBezTo>
                  <a:pt x="363" y="46"/>
                  <a:pt x="360" y="45"/>
                  <a:pt x="362" y="46"/>
                </a:cubicBezTo>
                <a:cubicBezTo>
                  <a:pt x="365" y="46"/>
                  <a:pt x="366" y="46"/>
                  <a:pt x="368" y="46"/>
                </a:cubicBezTo>
                <a:cubicBezTo>
                  <a:pt x="375" y="48"/>
                  <a:pt x="382" y="49"/>
                  <a:pt x="389" y="51"/>
                </a:cubicBezTo>
                <a:cubicBezTo>
                  <a:pt x="391" y="51"/>
                  <a:pt x="386" y="50"/>
                  <a:pt x="388" y="50"/>
                </a:cubicBezTo>
                <a:cubicBezTo>
                  <a:pt x="391" y="51"/>
                  <a:pt x="401" y="54"/>
                  <a:pt x="403" y="54"/>
                </a:cubicBezTo>
                <a:cubicBezTo>
                  <a:pt x="411" y="57"/>
                  <a:pt x="415" y="58"/>
                  <a:pt x="424" y="61"/>
                </a:cubicBezTo>
                <a:cubicBezTo>
                  <a:pt x="427" y="63"/>
                  <a:pt x="424" y="61"/>
                  <a:pt x="426" y="62"/>
                </a:cubicBezTo>
                <a:cubicBezTo>
                  <a:pt x="431" y="64"/>
                  <a:pt x="434" y="65"/>
                  <a:pt x="440" y="68"/>
                </a:cubicBezTo>
                <a:cubicBezTo>
                  <a:pt x="444" y="69"/>
                  <a:pt x="450" y="72"/>
                  <a:pt x="455" y="75"/>
                </a:cubicBezTo>
                <a:cubicBezTo>
                  <a:pt x="455" y="74"/>
                  <a:pt x="452" y="73"/>
                  <a:pt x="449" y="71"/>
                </a:cubicBezTo>
                <a:cubicBezTo>
                  <a:pt x="451" y="72"/>
                  <a:pt x="456" y="75"/>
                  <a:pt x="458" y="76"/>
                </a:cubicBezTo>
                <a:cubicBezTo>
                  <a:pt x="466" y="80"/>
                  <a:pt x="473" y="84"/>
                  <a:pt x="480" y="91"/>
                </a:cubicBezTo>
                <a:cubicBezTo>
                  <a:pt x="486" y="97"/>
                  <a:pt x="492" y="105"/>
                  <a:pt x="495" y="116"/>
                </a:cubicBezTo>
                <a:cubicBezTo>
                  <a:pt x="496" y="119"/>
                  <a:pt x="497" y="120"/>
                  <a:pt x="498" y="123"/>
                </a:cubicBezTo>
                <a:cubicBezTo>
                  <a:pt x="498" y="124"/>
                  <a:pt x="498" y="124"/>
                  <a:pt x="498" y="123"/>
                </a:cubicBezTo>
                <a:cubicBezTo>
                  <a:pt x="498" y="126"/>
                  <a:pt x="499" y="130"/>
                  <a:pt x="499" y="134"/>
                </a:cubicBezTo>
                <a:cubicBezTo>
                  <a:pt x="500" y="136"/>
                  <a:pt x="500" y="139"/>
                  <a:pt x="500" y="141"/>
                </a:cubicBezTo>
                <a:cubicBezTo>
                  <a:pt x="500" y="143"/>
                  <a:pt x="500" y="146"/>
                  <a:pt x="500" y="148"/>
                </a:cubicBezTo>
                <a:close/>
                <a:moveTo>
                  <a:pt x="385" y="50"/>
                </a:moveTo>
                <a:cubicBezTo>
                  <a:pt x="380" y="49"/>
                  <a:pt x="378" y="49"/>
                  <a:pt x="371" y="47"/>
                </a:cubicBezTo>
                <a:cubicBezTo>
                  <a:pt x="369" y="47"/>
                  <a:pt x="367" y="47"/>
                  <a:pt x="364" y="46"/>
                </a:cubicBezTo>
                <a:cubicBezTo>
                  <a:pt x="363" y="47"/>
                  <a:pt x="354" y="45"/>
                  <a:pt x="354" y="46"/>
                </a:cubicBezTo>
                <a:cubicBezTo>
                  <a:pt x="359" y="46"/>
                  <a:pt x="362" y="47"/>
                  <a:pt x="365" y="47"/>
                </a:cubicBezTo>
                <a:cubicBezTo>
                  <a:pt x="367" y="47"/>
                  <a:pt x="364" y="47"/>
                  <a:pt x="366" y="47"/>
                </a:cubicBezTo>
                <a:cubicBezTo>
                  <a:pt x="370" y="48"/>
                  <a:pt x="380" y="49"/>
                  <a:pt x="386" y="51"/>
                </a:cubicBezTo>
                <a:cubicBezTo>
                  <a:pt x="386" y="51"/>
                  <a:pt x="384" y="50"/>
                  <a:pt x="385" y="50"/>
                </a:cubicBezTo>
                <a:close/>
                <a:moveTo>
                  <a:pt x="387" y="51"/>
                </a:moveTo>
                <a:cubicBezTo>
                  <a:pt x="387" y="51"/>
                  <a:pt x="388" y="51"/>
                  <a:pt x="388" y="51"/>
                </a:cubicBezTo>
                <a:cubicBezTo>
                  <a:pt x="392" y="52"/>
                  <a:pt x="389" y="51"/>
                  <a:pt x="387" y="51"/>
                </a:cubicBezTo>
                <a:close/>
                <a:moveTo>
                  <a:pt x="391" y="61"/>
                </a:moveTo>
                <a:cubicBezTo>
                  <a:pt x="391" y="61"/>
                  <a:pt x="391" y="61"/>
                  <a:pt x="391" y="61"/>
                </a:cubicBezTo>
                <a:cubicBezTo>
                  <a:pt x="391" y="61"/>
                  <a:pt x="391" y="61"/>
                  <a:pt x="391" y="61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318603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9735035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5406" name="think-cell Slide" r:id="rId44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usto do subsídio estimado pelo Tesouro</a:t>
            </a:r>
            <a:endParaRPr lang="pt-BR" dirty="0"/>
          </a:p>
        </p:txBody>
      </p:sp>
      <p:sp>
        <p:nvSpPr>
          <p:cNvPr id="15" name="Footnote"/>
          <p:cNvSpPr/>
          <p:nvPr/>
        </p:nvSpPr>
        <p:spPr>
          <a:xfrm>
            <a:off x="457219" y="6081430"/>
            <a:ext cx="86868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pt-BR" sz="800" kern="0" dirty="0" smtClean="0"/>
              <a:t>1. Boletim </a:t>
            </a:r>
            <a:r>
              <a:rPr lang="pt-BR" sz="800" kern="0" dirty="0"/>
              <a:t>de Subsídios do Tesouro Nacional ao BNDES e à </a:t>
            </a:r>
            <a:r>
              <a:rPr lang="pt-BR" sz="800" kern="0" dirty="0" smtClean="0"/>
              <a:t>FINEP</a:t>
            </a:r>
          </a:p>
          <a:p>
            <a:r>
              <a:rPr lang="pt-BR" sz="800" kern="0" dirty="0"/>
              <a:t>2</a:t>
            </a:r>
            <a:r>
              <a:rPr lang="pt-BR" sz="800" kern="0" dirty="0" smtClean="0"/>
              <a:t>. </a:t>
            </a:r>
            <a:r>
              <a:rPr lang="pt-BR" sz="800" dirty="0" err="1" smtClean="0"/>
              <a:t>Discussion</a:t>
            </a:r>
            <a:r>
              <a:rPr lang="pt-BR" sz="800" dirty="0" smtClean="0"/>
              <a:t> </a:t>
            </a:r>
            <a:r>
              <a:rPr lang="pt-BR" sz="800" dirty="0" err="1" smtClean="0"/>
              <a:t>Paper</a:t>
            </a:r>
            <a:r>
              <a:rPr lang="pt-BR" sz="800" dirty="0" smtClean="0"/>
              <a:t>: </a:t>
            </a:r>
            <a:r>
              <a:rPr lang="en-US" sz="800" dirty="0" smtClean="0"/>
              <a:t>Brazil </a:t>
            </a:r>
            <a:r>
              <a:rPr lang="en-US" sz="800" dirty="0"/>
              <a:t>Financial Intermediation Costs and Credit </a:t>
            </a:r>
            <a:r>
              <a:rPr lang="en-US" sz="800" dirty="0" smtClean="0"/>
              <a:t>Allocation, 2/mar/2017, World Bank Group</a:t>
            </a:r>
            <a:endParaRPr lang="en-GB" sz="800" dirty="0"/>
          </a:p>
        </p:txBody>
      </p:sp>
      <p:sp>
        <p:nvSpPr>
          <p:cNvPr id="582" name="TextBox 581"/>
          <p:cNvSpPr txBox="1"/>
          <p:nvPr/>
        </p:nvSpPr>
        <p:spPr>
          <a:xfrm>
            <a:off x="452438" y="1399032"/>
            <a:ext cx="45767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pt-BR" sz="1200" b="1" kern="0" dirty="0" smtClean="0">
                <a:solidFill>
                  <a:schemeClr val="accent1"/>
                </a:solidFill>
                <a:latin typeface="+mj-lt"/>
              </a:rPr>
              <a:t>Valor do subsídio do Tesouro Nacional ao BNDES</a:t>
            </a:r>
            <a:r>
              <a:rPr lang="pt-BR" sz="1200" b="1" kern="0" baseline="30000" dirty="0" smtClean="0">
                <a:solidFill>
                  <a:schemeClr val="accent1"/>
                </a:solidFill>
                <a:latin typeface="+mj-lt"/>
              </a:rPr>
              <a:t>1</a:t>
            </a:r>
          </a:p>
          <a:p>
            <a:r>
              <a:rPr lang="pt-BR" sz="1200" kern="0" dirty="0" smtClean="0">
                <a:solidFill>
                  <a:schemeClr val="accent1"/>
                </a:solidFill>
                <a:latin typeface="+mj-lt"/>
              </a:rPr>
              <a:t>Regime competência, em R$ bi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029199" y="1402313"/>
            <a:ext cx="4105469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dirty="0" smtClean="0"/>
              <a:t>O Tesouro estima um </a:t>
            </a:r>
            <a:r>
              <a:rPr lang="pt-BR" sz="1200" b="1" dirty="0" smtClean="0"/>
              <a:t>valor total subsidiado de R$ 287 bi entre 2009 a 2060</a:t>
            </a:r>
            <a:r>
              <a:rPr lang="pt-BR" sz="1200" dirty="0" smtClean="0"/>
              <a:t>, em razão de:</a:t>
            </a:r>
          </a:p>
          <a:p>
            <a:pPr marL="360000" lvl="1" indent="-180000">
              <a:spcBef>
                <a:spcPts val="1200"/>
              </a:spcBef>
              <a:buSzPct val="100000"/>
              <a:buFont typeface="Arial"/>
              <a:buChar char="–"/>
            </a:pPr>
            <a:r>
              <a:rPr lang="pt-BR" sz="1200" b="1" dirty="0"/>
              <a:t>Subsídio </a:t>
            </a:r>
            <a:r>
              <a:rPr lang="pt-BR" sz="1200" b="1" dirty="0" smtClean="0"/>
              <a:t>financeiro </a:t>
            </a:r>
            <a:r>
              <a:rPr lang="pt-BR" sz="1200" dirty="0" smtClean="0"/>
              <a:t>(explícito): </a:t>
            </a:r>
            <a:r>
              <a:rPr lang="pt-BR" sz="1200" dirty="0"/>
              <a:t>diferença entre a taxa de juros recebida pelo financiador nos empréstimos </a:t>
            </a:r>
            <a:r>
              <a:rPr lang="pt-BR" sz="1200" dirty="0" smtClean="0"/>
              <a:t>concedidos </a:t>
            </a:r>
            <a:r>
              <a:rPr lang="pt-BR" sz="1200" dirty="0"/>
              <a:t>no </a:t>
            </a:r>
            <a:r>
              <a:rPr lang="pt-BR" sz="1200" dirty="0" smtClean="0"/>
              <a:t>Programa </a:t>
            </a:r>
            <a:r>
              <a:rPr lang="pt-BR" sz="1200" dirty="0"/>
              <a:t>de Sustentação do </a:t>
            </a:r>
            <a:r>
              <a:rPr lang="pt-BR" sz="1200" dirty="0" smtClean="0"/>
              <a:t>Investimento </a:t>
            </a:r>
            <a:r>
              <a:rPr lang="pt-BR" sz="1200" dirty="0"/>
              <a:t>e a taxa de juros paga pelo mutuário</a:t>
            </a:r>
            <a:endParaRPr lang="pt-BR" sz="1200" dirty="0" smtClean="0"/>
          </a:p>
          <a:p>
            <a:pPr marL="360000" lvl="1" indent="-180000">
              <a:spcBef>
                <a:spcPts val="1200"/>
              </a:spcBef>
              <a:buSzPct val="100000"/>
              <a:buFont typeface="Arial"/>
              <a:buChar char="–"/>
            </a:pPr>
            <a:r>
              <a:rPr lang="pt-BR" sz="1200" b="1" dirty="0"/>
              <a:t>Subsídio </a:t>
            </a:r>
            <a:r>
              <a:rPr lang="pt-BR" sz="1200" b="1" dirty="0" smtClean="0"/>
              <a:t>creditício </a:t>
            </a:r>
            <a:r>
              <a:rPr lang="pt-BR" sz="1200" dirty="0" smtClean="0"/>
              <a:t>(implícito): </a:t>
            </a:r>
            <a:r>
              <a:rPr lang="pt-BR" sz="1200" dirty="0"/>
              <a:t>diferença entre o custo de captação do Tesouro e o custo contratual dos empréstimos concedidos </a:t>
            </a:r>
            <a:r>
              <a:rPr lang="pt-BR" sz="1200" dirty="0" smtClean="0"/>
              <a:t>pelo Tesouro </a:t>
            </a:r>
            <a:r>
              <a:rPr lang="pt-BR" sz="1200" dirty="0"/>
              <a:t>ao BNDES</a:t>
            </a:r>
            <a:endParaRPr lang="pt-BR" sz="1200" dirty="0" smtClean="0"/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b="1" dirty="0" smtClean="0"/>
              <a:t>Exemplo ilustrativo</a:t>
            </a:r>
            <a:r>
              <a:rPr lang="pt-BR" sz="1200" dirty="0" smtClean="0"/>
              <a:t>: Dado que o Tesouro capta a taxa SELIC (10,25% a.a.) e empresta a taxa TJLP (7% a.a.), um financiamento de R$ 1 mi do BNDES representa um subsídio de R$ 32,5 mil ao final de um ano</a:t>
            </a:r>
          </a:p>
          <a:p>
            <a:pPr marL="180000" indent="-180000">
              <a:spcBef>
                <a:spcPts val="1200"/>
              </a:spcBef>
              <a:buSzPct val="100000"/>
              <a:buFont typeface="Arial"/>
              <a:buChar char="•"/>
            </a:pPr>
            <a:r>
              <a:rPr lang="pt-BR" sz="1200" dirty="0" smtClean="0"/>
              <a:t>Um estudo do Banco Mundial</a:t>
            </a:r>
            <a:r>
              <a:rPr lang="pt-BR" sz="1200" baseline="30000" dirty="0" smtClean="0"/>
              <a:t>2</a:t>
            </a:r>
            <a:r>
              <a:rPr lang="pt-BR" sz="1200" dirty="0" smtClean="0"/>
              <a:t> apontou que, </a:t>
            </a:r>
            <a:r>
              <a:rPr lang="pt-BR" sz="1200" b="1" dirty="0" smtClean="0"/>
              <a:t>em 2015, o custo fiscal dos subsídios do BNDES foi de 3,7% da receita do governo central (1,5% do PIB)</a:t>
            </a: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71693601"/>
              </p:ext>
            </p:extLst>
          </p:nvPr>
        </p:nvGraphicFramePr>
        <p:xfrm>
          <a:off x="381001" y="1905000"/>
          <a:ext cx="4122445" cy="2247912"/>
        </p:xfrm>
        <a:graphic>
          <a:graphicData uri="http://schemas.openxmlformats.org/presentationml/2006/ole">
            <p:oleObj spid="_x0000_s15407" name="Chart" r:id="rId45" imgW="4122445" imgH="2247912" progId="MSGraph.Chart.8">
              <p:embed followColorScheme="full"/>
            </p:oleObj>
          </a:graphicData>
        </a:graphic>
      </p:graphicFrame>
      <p:sp>
        <p:nvSpPr>
          <p:cNvPr id="88" name="BodyText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097338" y="3036888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C0E843-288B-4716-B4FA-DE1A024BE83F}" type="datetime'''''6''''''''''''''.''''''''''''3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75" name="BodyText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663950" y="2201863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5C8FB2-1295-47DE-88C3-F53FF638BC19}" type="datetime'''''''''9.''''''''''5''''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5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70" name="BodyText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87650" y="2655888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0A338-64DC-4E77-A277-A10019E8E2D3}" type="datetime'8''''''''''''''''''''''.''''''''''''''0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0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9" name="BodyText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59075" y="3429000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1E0D8B-0AA8-40CF-8396-AE6AA3FDBEEE}" type="datetime'2''''''''''''''''''''1''.''''''''''''''''''''''''''3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3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1" name="BodyText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197225" y="34893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35E053-E640-4F89-A5E3-F9C906C095CD}" type="datetime'''''''''''1''''''''''''''''''''''''''''''''''''9''.0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3" name="BodyText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25800" y="2727325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8F44D1-BF56-4D07-B049-8BBF26B812ED}" type="datetime'9''''''''''''''''.''''''''''''''''''''''''''''8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8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57" name="BodyText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5375" y="18637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B357C9-6F32-4400-8533-C395A3DE9D32}" type="datetime'''''''''''''''''''''''''''''''''''3''''''''''''8''''.6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5" name="BodyText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197225" y="2381250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80E3E8-F5CD-469E-8B28-7D8912C8CC9B}" type="datetime'''''''''''''''2''''8''''''''''''.''''''''8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8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79" name="BodyText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068763" y="3595688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427C7-D0EF-4884-8FA9-3F4B23E8483E}" type="datetime'''''1''''5''''''''''''''''.''''''''''''''''0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BodyText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90713" y="3663950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102A82-32F0-4C53-8EA8-C53307E109E7}" type="datetime'''''''''''''''12''''''''''''''''''''''''''.''3''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3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4" name="BodyText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35375" y="3222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7B968A-A603-49FB-9D3B-2F01AA067BB3}" type="datetime'''''''2''9''''''''''.''''''1''''''''''''''''''''''''''''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1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9" name="BodyText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068763" y="2786063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F7B7FD-6383-48B6-9D42-0A26C37A6C48}" type="datetime'''''''''''''2''1''''''''.''''''''''''''2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2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8" name="BodyText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352675" y="3268663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69ED7-DF44-409E-8882-EC8F6D00DB65}" type="datetime'''''''''''''6''''''.''''''''''''''''''''''''''''1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1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3" name="BodyText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759075" y="23590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8C873B-10B5-4776-A864-9FE04D6FD4BA}" type="datetime'2''''''''''9''''''''.''''''''''3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3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2" name="BodyText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324100" y="3021013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F68A0C-539A-4E5C-B498-7F3A2170AF82}" type="datetime'''''''''''1''''''''''''''''''6''''''.7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7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7" name="BodyText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24100" y="3709988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46CDA7-BBE3-48E2-8888-330AB978AA19}" type="datetime'''''''''''''''''''''''''1''''''''''''''''''''''0''''''''.6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6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BodyText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919288" y="3214688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D73224-0239-4A72-A4A3-CFF20CB78A00}" type="datetime'''4''.6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33" name="BodyText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452563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B403F-E513-4927-8906-10B4743C015E}" type="datetime'''''''''''''2''''0''''''''1''''''''1''''''''''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7" name="BodyText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79438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8D7EF2-E246-4073-9FF6-30FB797DCD35}" type="datetime'''''''''''''''''''''''''''''''''''''''''''''2''0''09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53" name="BodyText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013" y="3622675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2766E5-183D-4A08-9334-036C897E1C36}" type="datetime'''''''''''''''''4''''.''''''''8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36" name="BodyText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59075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E3F0A3-26E4-41A6-8039-B35C037280DB}" type="datetime'''2''''''''0''''''''''1''''''''''''4''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34" name="BodyText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890713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D9CC4B-7F36-4843-AB17-6394CEF3016A}" type="datetime'''2''''''''''''''''''''''''0''1''''''''2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37" name="BodyText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197225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D96B12-5DF0-4023-8824-79100C77FD20}" type="datetime'''''''''''2''''''''0''1''''''''''''''''''''''''''5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1" name="BodyText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890713" y="30067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2A7D58-36B5-4406-9839-07F2A1B7DF18}" type="datetime'''1''''6''''''''''''''''''.''''''9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9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8" name="BodyText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14413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DF5F04-1D60-4797-BBA7-F182910BB5AB}" type="datetime'''''''''2''''''''''''''''''''0''''''''''''''1''''''''''0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4" name="BodyText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481138" y="3298825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0BF81A-0B54-475D-8497-57C7441B1F4B}" type="datetime'''''''''''''5''''''''''''''''''''''''.''''2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0" name="BodyText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8013" y="3870325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077A5C-C33D-406D-9B76-4CF7D762E0D6}" type="datetime'''''''''''4''''''''''''''''''.''''''6''''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8" name="BodyText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635375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122307-5DAA-4462-A179-E3E3E0EB9DB8}" type="datetime'''''''''''''''''''''''''''''''''2''''''''''''''01''''''6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35" name="BodyText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324100" y="411162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37538-1F12-4885-B359-EBD2B2CAC028}" type="datetime'''''''''''''''2''''0''''''1''''''''''''''''''''''3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40" name="BodyText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452563" y="3074988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34A1D7-BA16-46E2-B555-D2090F866F74}" type="datetime'''''''''15''''''.''''''''''''7''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7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1" name="BodyText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42988" y="3767138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99079-5A6A-4CAD-BFA5-9250FE4D67CD}" type="datetime'''''''''''''''''''''8.''''''''''''''''''5''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5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2" name="BodyText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42988" y="3467100"/>
            <a:ext cx="184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B754-B4CF-488E-B2A3-4E197DF3118D}" type="datetime'''''''2''''''''''''.''''''9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87" name="BodyText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8013" y="3744913"/>
            <a:ext cx="184150" cy="122238"/>
          </a:xfrm>
          <a:prstGeom prst="rect">
            <a:avLst/>
          </a:prstGeom>
          <a:solidFill>
            <a:srgbClr val="9DE0ED"/>
          </a:solidFill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A5B465-9F89-4AA9-9E3F-03A8EB3913A2}" type="datetime'''''''''''''''''''''''''''''''''''0''''.''2''''''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63" name="BodyText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452563" y="3714750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8AB3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A60F0B-618E-402F-B2EE-829072267CF1}" type="datetime'''''''''''''1''''''''''0''''''''.5'''''''''''">
              <a:rPr lang="en-GB" altLang="en-US" sz="800" b="1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5</a:t>
            </a:fld>
            <a:endParaRPr lang="en-GB" sz="8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9" name="BodyText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035425" y="4111625"/>
            <a:ext cx="3095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F0AA54-D8B5-486A-A92F-D4F923D71216}" type="datetime'''''''''''''''2''0''''''''''''1''''''''''''''7''E''''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E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54" name="BodyText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14413" y="3303588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B91283-D348-4CFF-8CE9-C3B27C6F7053}" type="datetime'''''''''''''1''''''1''''''''''''''''''''.4'''''">
              <a:rPr lang="en-GB" altLang="en-US" sz="8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4</a:t>
            </a:fld>
            <a:endParaRPr lang="en-GB" sz="800" b="1" dirty="0" smtClean="0"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39"/>
            </p:custDataLst>
          </p:nvPr>
        </p:nvSpPr>
        <p:spPr bwMode="auto">
          <a:xfrm>
            <a:off x="503238" y="4932363"/>
            <a:ext cx="179388" cy="133350"/>
          </a:xfrm>
          <a:prstGeom prst="rect">
            <a:avLst/>
          </a:prstGeom>
          <a:solidFill>
            <a:srgbClr val="008AB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40"/>
            </p:custDataLst>
          </p:nvPr>
        </p:nvSpPr>
        <p:spPr bwMode="auto">
          <a:xfrm>
            <a:off x="503238" y="4729163"/>
            <a:ext cx="179388" cy="133350"/>
          </a:xfrm>
          <a:prstGeom prst="rect">
            <a:avLst/>
          </a:prstGeom>
          <a:solidFill>
            <a:srgbClr val="9DE0ED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9" name="BodyText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33425" y="4725988"/>
            <a:ext cx="23701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6F28E4-53D4-4D37-8791-1BAB620BCD9B}" type="datetime'''Subsí''di''''o financ''eiro'' - equaliz''a''ção de taxas'">
              <a:rPr lang="en-GB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bsídio financeiro - equalização de taxas</a:t>
            </a:fld>
            <a:endParaRPr lang="en-GB" sz="1000" dirty="0" smtClean="0">
              <a:sym typeface="+mn-lt"/>
            </a:endParaRPr>
          </a:p>
        </p:txBody>
      </p:sp>
      <p:sp>
        <p:nvSpPr>
          <p:cNvPr id="50" name="BodyText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33425" y="4929188"/>
            <a:ext cx="3055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9C0D9D-465F-4D43-B191-0EC1AD434B50}" type="datetime'Subs''ídi''o c''re''ditício - empréstimos da Uni''ão ao BNDES'">
              <a:rPr lang="en-GB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bsídio creditício - empréstimos da União ao BNDES</a:t>
            </a:fld>
            <a:endParaRPr lang="en-GB" sz="1000" dirty="0" smtClean="0">
              <a:sym typeface="+mn-lt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53543698"/>
              </p:ext>
            </p:extLst>
          </p:nvPr>
        </p:nvGraphicFramePr>
        <p:xfrm>
          <a:off x="752088" y="4391025"/>
          <a:ext cx="3868431" cy="73152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3108960"/>
                <a:gridCol w="759471"/>
              </a:tblGrid>
              <a:tr h="0">
                <a:tc gridSpan="2">
                  <a:txBody>
                    <a:bodyPr/>
                    <a:lstStyle/>
                    <a:p>
                      <a:pPr algn="r"/>
                      <a:r>
                        <a:rPr lang="pt-BR" sz="1000" dirty="0" smtClean="0"/>
                        <a:t>Estimativa de valor presente dos subsídios de 2018 a 2060</a:t>
                      </a:r>
                      <a:endParaRPr lang="en-GB" sz="1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anchor="ctr"/>
                </a:tc>
              </a:tr>
              <a:tr h="228297"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 smtClean="0"/>
                        <a:t>R$</a:t>
                      </a:r>
                      <a:r>
                        <a:rPr lang="pt-BR" sz="1000" baseline="0" dirty="0" smtClean="0"/>
                        <a:t> 10 bi</a:t>
                      </a:r>
                      <a:endParaRPr lang="en-GB" sz="1000" dirty="0"/>
                    </a:p>
                  </a:txBody>
                  <a:tcPr anchor="b"/>
                </a:tc>
              </a:tr>
              <a:tr h="228297"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 smtClean="0"/>
                        <a:t>R$ 94 bi</a:t>
                      </a:r>
                      <a:endParaRPr lang="en-GB" sz="1000" dirty="0"/>
                    </a:p>
                  </a:txBody>
                  <a:tcPr anchor="b"/>
                </a:tc>
              </a:tr>
            </a:tbl>
          </a:graphicData>
        </a:graphic>
      </p:graphicFrame>
      <p:sp>
        <p:nvSpPr>
          <p:cNvPr id="17" name="Rounded Rectangle 16"/>
          <p:cNvSpPr/>
          <p:nvPr/>
        </p:nvSpPr>
        <p:spPr>
          <a:xfrm>
            <a:off x="592932" y="2136711"/>
            <a:ext cx="1668462" cy="73105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kern="0" dirty="0" smtClean="0">
                <a:solidFill>
                  <a:schemeClr val="accent3"/>
                </a:solidFill>
              </a:rPr>
              <a:t>Entre 2009 e 2017E, foram R$ 183 bi em subsídios</a:t>
            </a:r>
            <a:endParaRPr lang="en-GB" sz="1200" kern="0" dirty="0" err="1" smtClean="0">
              <a:solidFill>
                <a:schemeClr val="accent3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03238" y="5429261"/>
            <a:ext cx="3973511" cy="27432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kern="0" dirty="0" smtClean="0">
                <a:solidFill>
                  <a:schemeClr val="accent3"/>
                </a:solidFill>
              </a:rPr>
              <a:t>Impacto não é no orçamento, mas sim na dívida pública</a:t>
            </a:r>
            <a:endParaRPr lang="en-GB" sz="1200" kern="0" dirty="0" err="1" smtClean="0">
              <a:solidFill>
                <a:schemeClr val="accent3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 rot="5400000">
            <a:off x="2416572" y="5129019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39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Object 24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34206856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7428" name="think-cell Slide" r:id="rId4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kern="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Números mostram que o montante e o custo do subsídio do BNDES são desproporcionais e seus impactos sobre produtividade e distribuição de renda são negativos 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7219" y="1880319"/>
            <a:ext cx="5150499" cy="3618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 smtClean="0"/>
              <a:t>Segundo Samuel Pessoa</a:t>
            </a:r>
            <a:r>
              <a:rPr lang="pt-BR" sz="1400" baseline="30000" dirty="0" smtClean="0"/>
              <a:t>1</a:t>
            </a:r>
            <a:r>
              <a:rPr lang="pt-BR" sz="1400" dirty="0" smtClean="0"/>
              <a:t>, entre </a:t>
            </a:r>
            <a:r>
              <a:rPr lang="pt-BR" sz="1400" dirty="0"/>
              <a:t>2008 e 2014, o Tesouro emprestou ao </a:t>
            </a:r>
            <a:r>
              <a:rPr lang="pt-BR" sz="1400" dirty="0" smtClean="0"/>
              <a:t>BNDES, o equivalente a </a:t>
            </a:r>
            <a:r>
              <a:rPr lang="pt-BR" sz="1400" dirty="0"/>
              <a:t>R$ 400 bilhões. </a:t>
            </a:r>
            <a:r>
              <a:rPr lang="pt-BR" sz="1400" dirty="0" smtClean="0"/>
              <a:t>Isso significa uma </a:t>
            </a:r>
            <a:r>
              <a:rPr lang="pt-BR" sz="1400" dirty="0"/>
              <a:t>quantia de dinheiro 25% maior e que atingiu uma população 31% menor do que </a:t>
            </a:r>
            <a:r>
              <a:rPr lang="pt-BR" sz="1400" dirty="0" smtClean="0"/>
              <a:t>aquela beneficiada </a:t>
            </a:r>
            <a:r>
              <a:rPr lang="pt-BR" sz="1400" dirty="0"/>
              <a:t>pelo Plano Marshall (programa de recuperação da Europa após II Guerra </a:t>
            </a:r>
            <a:r>
              <a:rPr lang="pt-BR" sz="1400" dirty="0" smtClean="0"/>
              <a:t>Mundial)</a:t>
            </a:r>
            <a:endParaRPr lang="pt-BR" sz="1400" baseline="30000" dirty="0" smtClean="0"/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/>
              <a:t>Segundo cálculos de </a:t>
            </a:r>
            <a:r>
              <a:rPr lang="pt-BR" sz="1400" dirty="0" smtClean="0"/>
              <a:t>Manoel </a:t>
            </a:r>
            <a:r>
              <a:rPr lang="pt-BR" sz="1400" dirty="0"/>
              <a:t>Pires, o custo total dos subsídios foi, somente em 2015, de R$ 57 bilhões, algo próximo ao custo anual de dois programas Bolsa </a:t>
            </a:r>
            <a:r>
              <a:rPr lang="pt-BR" sz="1400" dirty="0" smtClean="0"/>
              <a:t>Família</a:t>
            </a:r>
          </a:p>
          <a:p>
            <a:pPr marL="180000" indent="-180000">
              <a:spcBef>
                <a:spcPts val="700"/>
              </a:spcBef>
              <a:buSzPct val="100000"/>
              <a:buFont typeface="Arial"/>
              <a:buChar char="•"/>
            </a:pPr>
            <a:r>
              <a:rPr lang="pt-BR" sz="1400" dirty="0" smtClean="0"/>
              <a:t>Um estudo do Gabriel Madeira</a:t>
            </a:r>
            <a:r>
              <a:rPr lang="pt-BR" sz="1400" baseline="30000" dirty="0" smtClean="0"/>
              <a:t>2</a:t>
            </a:r>
            <a:r>
              <a:rPr lang="pt-BR" sz="1400" dirty="0" smtClean="0"/>
              <a:t> estima o impacto do crédito direcionado:</a:t>
            </a:r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/>
              <a:t>Redução de 2,3% na produtividade total</a:t>
            </a:r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/>
              <a:t>Correlação negativa com a renda e com a sua distribuição – redução do coeficiente de </a:t>
            </a:r>
            <a:r>
              <a:rPr lang="pt-BR" sz="1400" dirty="0" err="1" smtClean="0"/>
              <a:t>Gini</a:t>
            </a:r>
            <a:endParaRPr lang="pt-BR" sz="1400" dirty="0" smtClean="0"/>
          </a:p>
          <a:p>
            <a:pPr marL="360000" lvl="1" indent="-180000">
              <a:spcBef>
                <a:spcPts val="300"/>
              </a:spcBef>
              <a:buSzPct val="100000"/>
              <a:buFont typeface="Arial"/>
              <a:buChar char="–"/>
            </a:pPr>
            <a:r>
              <a:rPr lang="pt-BR" sz="1400" dirty="0" smtClean="0"/>
              <a:t>Aumento de 3,9% do spread</a:t>
            </a:r>
            <a:endParaRPr lang="pt-BR" sz="1400" dirty="0"/>
          </a:p>
        </p:txBody>
      </p:sp>
      <p:sp>
        <p:nvSpPr>
          <p:cNvPr id="12" name="Footnote"/>
          <p:cNvSpPr/>
          <p:nvPr/>
        </p:nvSpPr>
        <p:spPr>
          <a:xfrm>
            <a:off x="457219" y="5958320"/>
            <a:ext cx="86868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pt-BR" sz="800" kern="0" dirty="0" smtClean="0"/>
              <a:t>1. Pessoa, Samuel. Uma história de dois planos Marshall </a:t>
            </a:r>
            <a:r>
              <a:rPr lang="pt-BR" sz="800" dirty="0" smtClean="0"/>
              <a:t>Plano Marshall, 14/</a:t>
            </a:r>
            <a:r>
              <a:rPr lang="pt-BR" sz="800" dirty="0" err="1" smtClean="0"/>
              <a:t>mai</a:t>
            </a:r>
            <a:r>
              <a:rPr lang="pt-BR" sz="800" dirty="0" smtClean="0"/>
              <a:t>/2017. Entre </a:t>
            </a:r>
            <a:r>
              <a:rPr lang="pt-BR" sz="800" dirty="0"/>
              <a:t>1948 e 1951, os EUA despenderam pouco mais de US$ 13 bilhões para ajudar na reconstrução </a:t>
            </a:r>
            <a:r>
              <a:rPr lang="pt-BR" sz="800" dirty="0" smtClean="0"/>
              <a:t>de 16 </a:t>
            </a:r>
            <a:r>
              <a:rPr lang="pt-BR" sz="800" dirty="0"/>
              <a:t>países europeus, com </a:t>
            </a:r>
            <a:r>
              <a:rPr lang="pt-BR" sz="800" dirty="0" smtClean="0"/>
              <a:t>população, à </a:t>
            </a:r>
            <a:r>
              <a:rPr lang="pt-BR" sz="800" dirty="0"/>
              <a:t>época, de 290 milhões. </a:t>
            </a:r>
            <a:endParaRPr lang="pt-BR" sz="800" dirty="0" smtClean="0"/>
          </a:p>
          <a:p>
            <a:r>
              <a:rPr lang="pt-BR" sz="800" dirty="0" smtClean="0"/>
              <a:t>2. Madeira, Gabriel. </a:t>
            </a:r>
            <a:r>
              <a:rPr lang="en-GB" sz="800" dirty="0"/>
              <a:t>Earmarked Credit </a:t>
            </a:r>
            <a:r>
              <a:rPr lang="en-GB" sz="800" dirty="0" smtClean="0"/>
              <a:t>and Misallocation</a:t>
            </a:r>
            <a:endParaRPr lang="pt-BR" sz="800" dirty="0" smtClean="0"/>
          </a:p>
        </p:txBody>
      </p:sp>
      <p:sp>
        <p:nvSpPr>
          <p:cNvPr id="6" name="Freeform 5"/>
          <p:cNvSpPr/>
          <p:nvPr/>
        </p:nvSpPr>
        <p:spPr>
          <a:xfrm>
            <a:off x="5934270" y="3150038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419461" y="1586180"/>
            <a:ext cx="2435290" cy="251926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kern="0" dirty="0" smtClean="0">
                <a:solidFill>
                  <a:schemeClr val="tx1"/>
                </a:solidFill>
              </a:rPr>
              <a:t>Crédito no Brasil é caro</a:t>
            </a:r>
          </a:p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kern="0" dirty="0" smtClean="0">
                <a:solidFill>
                  <a:schemeClr val="tx1"/>
                </a:solidFill>
              </a:rPr>
              <a:t>Além disso, a oferta de crédito continua restrita</a:t>
            </a:r>
          </a:p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kern="0" dirty="0" smtClean="0">
                <a:solidFill>
                  <a:schemeClr val="tx1"/>
                </a:solidFill>
              </a:rPr>
              <a:t>Subsídio não é transparente</a:t>
            </a:r>
            <a:endParaRPr lang="en-GB" sz="1600" kern="0" dirty="0" err="1" smtClean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419461" y="4666426"/>
            <a:ext cx="2435290" cy="10659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108000" indent="-108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kern="0" dirty="0" smtClean="0">
                <a:solidFill>
                  <a:schemeClr val="tx1"/>
                </a:solidFill>
              </a:rPr>
              <a:t>A criação da TLP visa minimizar o impacto social do subsídio e torná-lo transparente </a:t>
            </a:r>
            <a:endParaRPr lang="en-GB" sz="1600" kern="0" dirty="0" err="1" smtClean="0">
              <a:solidFill>
                <a:schemeClr val="tx1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5400000">
            <a:off x="7495023" y="4151525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697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/%Y&lt;/m_strFormatTime&gt;&lt;m_yearfmt&gt;&lt;begin val=&quot;0&quot;/&gt;&lt;end val=&quot;0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D6&quot; g=&quot;D7&quot; b=&quot;D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1hUFNQY2Q6Yi7HK6Di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mbEG8FQqi_vvWoecWH9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SJwBMTbOnEGWEozBV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mPPlUR5.HK1UKpTP9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wdy5zQIioJeHkc1Qs6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.dQ6eSJef1YJ0yCQHh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TlLmJHQKCAv7.Z2Ar5m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4DqFmbSUKsT5Acu3f6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z7JENYSEaGmEXf8_1_r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.wXMUQ3ulr5_QZGFE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Lm1HZNQmCzClgqHPWV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_JAMZZSs6pYWTIqC.r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WLj9YS6.Ah0MHhmJL.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bUVIxTniS.ToX2bE1.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cTUjGBRwG1gC93BeHpy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im8ufuTT2TXGXyVwRN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fju1kqT3OJXao1xtfN2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Gj9XcyRMqb96m1Bshc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7zP4bQUy.4XKGYr2u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6_cHvrQuaIM6JJMRQW8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ZV6RHuTIWglFw6dEpx3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wm8DCFQX.0RI8PjOHsE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n0I9KcTRKsRPIYAOd8U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3SmO6IS22Y1v8_ml5N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rz9t9gQ_6GG.IVh.7h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Fl1JOxR5.54nqtitu6g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gVhpUT9ichSK4QI_g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IvKam.ShOoRQzQqjgQ_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qtDupnQuOgE3diqIKw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L1Mbt1S7iOtEjZQNeK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JbhWPS6iYXECm4ps1F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ge.xQNQoiVdDwbPj2lW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J_EavvQJO5AVevDkNu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2jbE9fStualUJDYVaPK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0eTIEOR1ezF3RH0ei0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nm0jP3RJOTfC5_Ui0q8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lSWhmfSaqIhz0mnnJA4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CsB11TuGygKixRU1N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peNFiBQYqQSnO17kam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ErCLUdRH2nMHTEv3nw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jj.2uWR0CK9VCRyZVrb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eCtTdmTJWsdplvfcWCl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MS1glfTE2wSgp24X4QI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i.55hlTXGKZ57iZAByl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VvsnIQrq_OFbyL168L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W0ZmBlTSOe3Z8lDAK8X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NutY_aROCz9eOGxF_o2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.dQ6eSJef1YJ0yCQH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mPPlUR5.HK1UKpTP9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.wXMUQ3ulr5_QZGFE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z7JENYSEaGmEXf8_1_r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_MNz8PQ0qlZ3gU340j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_f3r0BSQiMoCakUQ2S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64gYfTuujZTvS2x3B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zuMJqvTJu5rx.3pzig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lIllwoRm2RByM5UtoK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HvEwbTRf67H.25jZ3S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xLEZnQTXGN6qRfHSAP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8ct102QwKphRpsKD8O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X9w0HrRp.rRYit1UfY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RcxFnQPqIa.wP9_F5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gGG5kTRui8BBeqKtEj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lVJppwSS6N5kp28Uo0M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EE.J4yT7erwxU9ysps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JvRRTRpGlBoPPEVxg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jHv6VQzyZ6zWBEzz4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oZk6cTQ2mMklrsKMX1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RzzvcKR0Czn0WoS92B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6_GwPRRLWetQsQTNIV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Zo4dltQlyjCG6s11yj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kPqUjzQvySMuvSvnn6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jdEZmxTJOU_1W_ZsUb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gGOYLQyOczGlE7gam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Ay9oYKSSa4_v7L4DMR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9YkRBASl294gNaZnVS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T00I14SEiuzEQBl4pq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MBHPt2TTq0iWIcN5it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_H2L8StiZoqbSaVYb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c8XB9SQRycNatJvTFn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I6oELRZew9XnxbFcV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8btnfQ9OhdKYyT0XH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6.yD54TreOR.nx1igS0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iPzgqMQCyWoOqaMYEw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4RC2bS4yob1idGQce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0.yFDTCS.lAuKUxiE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5kTdEvQmyX4MS_M7OWj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fxVCi2T62K5xfYesG3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GIqKIbSwCRGiKTTYc1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EBJvqYRiiaJj6NiWSw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pqx3GMQHuzr4d1zW2I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z1_MElTGCOIRaSc51J6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mom5PJTzeaLCScOFaW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.tnIXGQWGmVua7m.D_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587_gyTxqlmQmlsFEv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DUi6.EST6j41vGGgq3u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7rJCmhR3CcjUNKchkL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VCIFTaSK6chlbyTqwJ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LX9Ma1TBG1R8YDX2_cL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yIWhdMQICGBxjC_iuDr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SKDjIDTXOxqtprNyWdV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hk0xi6Q.Wv2tgjw.kF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by1rjGSsuzpgT0SqSN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0iMIHPT56ELhfK0HjY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O2iaYUSaCw_CZuVWsC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mcoucJQh.kUDfWEMw3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mG.uhbR3WRjfxg2L5Gw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oMuHPiSWiGX9CEs.gt_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ZqO7FyR2KGsHpXhlGF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UvhMblTtCDLIoMjI_WI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l23Cs7RGi9JQe4WAvCe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3o8ncuRWurhcX.SZPNs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amu_FBTo2TMTq0XqrC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G5YzMTymR7tLZOUQ7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nm0jP3RJOTfC5_Ui0q8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y11llT.uYRLMesxip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JbhWPS6iYXECm4ps1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B_6xIzRgeykjI2Xpdw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ENu5x5QN.my.1tr0eH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NutY_aROCz9eOGxF_o2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5bRK6BSUKQ7GbKpL7U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oHQ_nPR2aUeQVQK1bc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TD5rjTRu.Iza3ImtX_9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L1Mbt1S7iOtEjZQNeKwQ"/>
</p:tagLst>
</file>

<file path=ppt/theme/theme1.xml><?xml version="1.0" encoding="utf-8"?>
<a:theme xmlns:a="http://schemas.openxmlformats.org/drawingml/2006/main" name="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10.xml><?xml version="1.0" encoding="utf-8"?>
<Control xmlns="http://schemas.microsoft.com/VisualStudio/2011/storyboarding/control">
  <Id Name="26f8d618-5197-42bd-b24c-738afd8662b0" Revision="1" Stencil="Flags_Europe_v1" StencilVersion="1.0"/>
</Control>
</file>

<file path=customXml/item11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12.xml><?xml version="1.0" encoding="utf-8"?>
<Control xmlns="http://schemas.microsoft.com/VisualStudio/2011/storyboarding/control">
  <Id Name="72944c5e-adcf-46be-baed-a204819cc43b" Revision="1" Stencil="Flags_Americas_v1" StencilVersion="1.0"/>
</Control>
</file>

<file path=customXml/item13.xml><?xml version="1.0" encoding="utf-8"?>
<Control xmlns="http://schemas.microsoft.com/VisualStudio/2011/storyboarding/control">
  <Id Name="79ff57a2-2670-4a7b-91d5-1bc9710fff16" Revision="1" Stencil="Flags_Europe_v1" StencilVersion="1.0"/>
</Control>
</file>

<file path=customXml/item14.xml><?xml version="1.0" encoding="utf-8"?>
<Control xmlns="http://schemas.microsoft.com/VisualStudio/2011/storyboarding/control">
  <Id Name="641823c9-8bf1-4c81-bdc3-2b85e8c1bdb4" Revision="1" Stencil="Flags_Americas_v1" StencilVersion="1.0"/>
</Control>
</file>

<file path=customXml/item2.xml><?xml version="1.0" encoding="utf-8"?>
<Control xmlns="http://schemas.microsoft.com/VisualStudio/2011/storyboarding/control">
  <Id Name="96691c21-a127-45bf-bc4d-6cb2f1e1d336" Revision="1" Stencil="Flags_Asia_v1" StencilVersion="1.0"/>
</Control>
</file>

<file path=customXml/item3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4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5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6.xml><?xml version="1.0" encoding="utf-8"?>
<Control xmlns="http://schemas.microsoft.com/VisualStudio/2011/storyboarding/control">
  <Id Name="06a31f11-0707-4442-a4e7-acfcc84e3f85" Revision="1" Stencil="Flags_Asia_v1" StencilVersion="1.0"/>
</Control>
</file>

<file path=customXml/item7.xml><?xml version="1.0" encoding="utf-8"?>
<Control xmlns="http://schemas.microsoft.com/VisualStudio/2011/storyboarding/control">
  <Id Name="584fe01d-2022-4361-b65c-46b7850cfa53" Revision="1" Stencil="Flags_Americas_v1" StencilVersion="1.0"/>
</Control>
</file>

<file path=customXml/item8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9.xml><?xml version="1.0" encoding="utf-8"?>
<Control xmlns="http://schemas.microsoft.com/VisualStudio/2011/storyboarding/control">
  <Id Name="32bccb8e-1b7f-469a-b41d-ca01dc55c8e4" Revision="1" Stencil="Flags_Europe_v1" StencilVersion="1.0"/>
</Control>
</file>

<file path=customXml/itemProps1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A31EC3F3-7CF2-49D3-85D4-917978391F3A}">
  <ds:schemaRefs>
    <ds:schemaRef ds:uri="http://schemas.microsoft.com/VisualStudio/2011/storyboarding/control"/>
  </ds:schemaRefs>
</ds:datastoreItem>
</file>

<file path=customXml/itemProps11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911CB7B3-A1C1-40F0-99C7-36AC4E752FAE}">
  <ds:schemaRefs>
    <ds:schemaRef ds:uri="http://schemas.microsoft.com/VisualStudio/2011/storyboarding/control"/>
  </ds:schemaRefs>
</ds:datastoreItem>
</file>

<file path=customXml/itemProps13.xml><?xml version="1.0" encoding="utf-8"?>
<ds:datastoreItem xmlns:ds="http://schemas.openxmlformats.org/officeDocument/2006/customXml" ds:itemID="{1731A257-2735-4FE5-885C-79C47CC89DAC}">
  <ds:schemaRefs>
    <ds:schemaRef ds:uri="http://schemas.microsoft.com/VisualStudio/2011/storyboarding/control"/>
  </ds:schemaRefs>
</ds:datastoreItem>
</file>

<file path=customXml/itemProps14.xml><?xml version="1.0" encoding="utf-8"?>
<ds:datastoreItem xmlns:ds="http://schemas.openxmlformats.org/officeDocument/2006/customXml" ds:itemID="{B3423CB4-B3F9-42BF-AC42-E574E168A715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AF7A3FBE-932B-4EBE-8778-59B523FBC6F9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B0E0FD31-66BC-436F-B1AE-2F1C807B267E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8B2BCFBD-D700-41D7-BA05-D3D65981BFA0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2C2640AB-6920-41EC-89C3-DCB318522548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89</TotalTime>
  <Words>1717</Words>
  <Application>Microsoft Office PowerPoint</Application>
  <PresentationFormat>Personalizar</PresentationFormat>
  <Paragraphs>232</Paragraphs>
  <Slides>12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12</vt:i4>
      </vt:variant>
    </vt:vector>
  </HeadingPairs>
  <TitlesOfParts>
    <vt:vector size="15" baseType="lpstr">
      <vt:lpstr>blank</vt:lpstr>
      <vt:lpstr>think-cell Slide</vt:lpstr>
      <vt:lpstr>Chart</vt:lpstr>
      <vt:lpstr>Slide 0</vt:lpstr>
      <vt:lpstr>Slide 1</vt:lpstr>
      <vt:lpstr>Agenda</vt:lpstr>
      <vt:lpstr>O mercado de crédito no Brasil foi fortemente impulsionado pelos créditos direcionados</vt:lpstr>
      <vt:lpstr>Os empréstimos do BNDES têm alta representatividade no mercado de crédito para as empresas grandes</vt:lpstr>
      <vt:lpstr>O outro lado: As taxas de juros cobradas em cada modalidade de crédito variam consideravelmente</vt:lpstr>
      <vt:lpstr>O spread bancário elevado no Brasil também é consequência do subsídio para o crédito direcionado</vt:lpstr>
      <vt:lpstr>Custo do subsídio estimado pelo Tesouro</vt:lpstr>
      <vt:lpstr>Números mostram que o montante e o custo do subsídio do BNDES são desproporcionais e seus impactos sobre produtividade e distribuição de renda são negativos </vt:lpstr>
      <vt:lpstr>Exemplos internacionais – Crédito direcionado (1/2) Em nossa amostra, apenas Brasil e Índia têm crédito direcionado, porém implementado de modo diferente</vt:lpstr>
      <vt:lpstr>Exemplos internacionais – Crédito direcionado (2/2) Outros países têm programas mais flexíveis para alcançar objetivos similares</vt:lpstr>
      <vt:lpstr>Reflexões finais</vt:lpstr>
    </vt:vector>
  </TitlesOfParts>
  <Company>Oliver Wyma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rao, Anacarla</dc:creator>
  <cp:lastModifiedBy>chayashi</cp:lastModifiedBy>
  <cp:revision>129</cp:revision>
  <dcterms:created xsi:type="dcterms:W3CDTF">2017-06-19T18:43:56Z</dcterms:created>
  <dcterms:modified xsi:type="dcterms:W3CDTF">2017-07-12T19:0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6/02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BrazilianPortuguese</vt:lpwstr>
  </property>
  <property fmtid="{D5CDD505-2E9C-101B-9397-08002B2CF9AE}" pid="5" name="Tfs.IsStoryboard">
    <vt:bool>true</vt:bool>
  </property>
</Properties>
</file>